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2"/>
  </p:notesMasterIdLst>
  <p:sldIdLst>
    <p:sldId id="292" r:id="rId3"/>
    <p:sldId id="280" r:id="rId4"/>
    <p:sldId id="275" r:id="rId5"/>
    <p:sldId id="301" r:id="rId6"/>
    <p:sldId id="314" r:id="rId7"/>
    <p:sldId id="282" r:id="rId8"/>
    <p:sldId id="302" r:id="rId9"/>
    <p:sldId id="322" r:id="rId10"/>
    <p:sldId id="323" r:id="rId11"/>
    <p:sldId id="284" r:id="rId12"/>
    <p:sldId id="303" r:id="rId13"/>
    <p:sldId id="316" r:id="rId14"/>
    <p:sldId id="320" r:id="rId15"/>
    <p:sldId id="321" r:id="rId16"/>
    <p:sldId id="286" r:id="rId17"/>
    <p:sldId id="317" r:id="rId18"/>
    <p:sldId id="324" r:id="rId19"/>
    <p:sldId id="306" r:id="rId20"/>
    <p:sldId id="318" r:id="rId21"/>
    <p:sldId id="315" r:id="rId22"/>
    <p:sldId id="319" r:id="rId23"/>
    <p:sldId id="325" r:id="rId24"/>
    <p:sldId id="330" r:id="rId25"/>
    <p:sldId id="299" r:id="rId26"/>
    <p:sldId id="300" r:id="rId27"/>
    <p:sldId id="326" r:id="rId28"/>
    <p:sldId id="327" r:id="rId29"/>
    <p:sldId id="328" r:id="rId30"/>
    <p:sldId id="329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me" id="{B875EA3A-0F3A-42D7-B6E2-7E1A05C2A3DA}">
          <p14:sldIdLst>
            <p14:sldId id="292"/>
            <p14:sldId id="280"/>
          </p14:sldIdLst>
        </p14:section>
        <p14:section name="Definition" id="{88495344-40FB-4841-99CC-E364E4B3FA60}">
          <p14:sldIdLst>
            <p14:sldId id="275"/>
            <p14:sldId id="301"/>
            <p14:sldId id="314"/>
          </p14:sldIdLst>
        </p14:section>
        <p14:section name="Benfits of the Project" id="{89DC3976-4114-4C72-A3F7-CD5F9D4A7E2B}">
          <p14:sldIdLst>
            <p14:sldId id="282"/>
            <p14:sldId id="302"/>
            <p14:sldId id="322"/>
            <p14:sldId id="323"/>
          </p14:sldIdLst>
        </p14:section>
        <p14:section name="Features" id="{B0161835-6204-4266-8552-F3667AA67871}">
          <p14:sldIdLst>
            <p14:sldId id="284"/>
            <p14:sldId id="303"/>
            <p14:sldId id="316"/>
            <p14:sldId id="320"/>
            <p14:sldId id="321"/>
          </p14:sldIdLst>
        </p14:section>
        <p14:section name="What The Project Contain &amp; How it works" id="{B78F869A-DB52-4C0F-9771-93BD0B0C77E6}">
          <p14:sldIdLst>
            <p14:sldId id="286"/>
            <p14:sldId id="317"/>
            <p14:sldId id="324"/>
          </p14:sldIdLst>
        </p14:section>
        <p14:section name="Untitled Section" id="{AA4F040C-A697-4512-B319-88A7D9BC0279}">
          <p14:sldIdLst>
            <p14:sldId id="306"/>
            <p14:sldId id="318"/>
          </p14:sldIdLst>
        </p14:section>
        <p14:section name="Untitled Section" id="{1C000D47-610D-45B7-AB07-4751DA69FBA4}">
          <p14:sldIdLst>
            <p14:sldId id="315"/>
            <p14:sldId id="319"/>
            <p14:sldId id="325"/>
            <p14:sldId id="330"/>
          </p14:sldIdLst>
        </p14:section>
        <p14:section name="Team" id="{98810976-D7DB-4275-9710-9A2889E2A734}">
          <p14:sldIdLst>
            <p14:sldId id="299"/>
            <p14:sldId id="300"/>
            <p14:sldId id="326"/>
            <p14:sldId id="327"/>
            <p14:sldId id="328"/>
            <p14:sldId id="3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6437"/>
    <a:srgbClr val="484525"/>
    <a:srgbClr val="16180A"/>
    <a:srgbClr val="100C07"/>
    <a:srgbClr val="47342D"/>
    <a:srgbClr val="EEDF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652" autoAdjust="0"/>
    <p:restoredTop sz="94616" autoAdjust="0"/>
  </p:normalViewPr>
  <p:slideViewPr>
    <p:cSldViewPr snapToGrid="0">
      <p:cViewPr>
        <p:scale>
          <a:sx n="66" d="100"/>
          <a:sy n="66" d="100"/>
        </p:scale>
        <p:origin x="1162" y="3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90001" cy="900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12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C8-4CF9-A595-A27022A6E1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arker Grotesque" pitchFamily="2" charset="0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C8-4CF9-A595-A27022A6E1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6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0F8E1DD-6C18-4674-ABC4-9E763D0FF54F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C8-4CF9-A595-A27022A6E1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7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607158C-1579-41DF-981A-6B4E92E7D9D4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FC8-4CF9-A595-A27022A6E19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28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E68470A-375F-46FF-9140-5A31B2CB6B22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FC8-4CF9-A595-A27022A6E19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29</c:v>
                </c:pt>
              </c:strCache>
            </c:strRef>
          </c:tx>
          <c:spPr>
            <a:solidFill>
              <a:schemeClr val="bg1">
                <a:alpha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FC8-4CF9-A595-A27022A6E1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4"/>
        <c:axId val="576082815"/>
        <c:axId val="576083775"/>
      </c:barChart>
      <c:catAx>
        <c:axId val="576082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76083775"/>
        <c:crosses val="autoZero"/>
        <c:auto val="1"/>
        <c:lblAlgn val="ctr"/>
        <c:lblOffset val="100"/>
        <c:noMultiLvlLbl val="0"/>
      </c:catAx>
      <c:valAx>
        <c:axId val="5760837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608281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C3AF2F-7BE3-498F-9766-58B5DA79A88E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27244-25DA-4FDD-ADED-482C09915D8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466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67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853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EBC4C-A618-39DD-A004-6F099E7521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76177B-D510-70F6-1D00-4FCAE62283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48EFF-9FC7-4F9C-94A3-EA5AC7C69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9C630-0B09-53E1-31C9-BABEB0709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51915-DC9A-8D6C-F485-926681312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6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77BD0-2508-909C-716B-4E68C7E4E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178145-3E79-6BD3-70F0-F691CA1290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4619B2-6441-48C8-7E6B-4ABE242E6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C68C0-EDE2-C1FD-F7FD-BD969B56B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FA48DB-4380-CE54-ACD9-5559F813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430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506D35-54B1-A678-851B-FCA645D28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C2D8D1-8933-43E3-68F5-4D65C467A2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BDD04-642A-2CEF-ACD9-5D419188C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33EDA-94B8-5637-5166-9F58C6948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70ABD-3C03-215E-3BA0-CF733B945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803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927CA-EC04-FDCE-9CFC-53FBF80B2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5C4E92-D8AF-45DE-4432-E800693780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36554-42D0-0742-A750-B703AEFCB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5C24A-9409-42F1-AFD4-D88E5171A316}" type="datetime1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2A28-BEAA-D28B-8F6D-360C7F6E4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760C1-75AB-344F-27D3-2137BB8EE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287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53387-52C0-5B6A-6F6C-67FD472CA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E3C19-97F7-B057-C5A8-E5CE271F7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C0E83-50A0-F62F-EE08-250DAE07F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A54FF3-9659-441D-886C-9DA4B7C21964}" type="datetime1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AA5126-015E-26C8-9777-AD4E0B1FC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80E731-D4E3-1F29-4105-4BC1839D0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494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293CE-DC18-7EBB-FD8E-814F3522C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B9178-C934-2288-EC5A-DAC080A9F6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207F36-ABE2-B599-3B45-FB385749F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0393-4DC3-4B15-8652-4766F50BDB94}" type="datetime1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7A94B-EA40-561F-0E00-4D71ABE10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203142-0649-0702-E644-F78C75B0A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64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7EBE7-5725-2027-6C19-02A8472DD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EC399-F347-D0FB-AAC5-BB452DA45B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FE23FA-119D-D03B-8CDB-C0B784E3D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9C3B32-C36F-CC0E-645F-04EE564C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746B6-5631-4AC1-900D-706E9B0D7B63}" type="datetime1">
              <a:rPr lang="en-GB" smtClean="0"/>
              <a:t>2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9CFCF0-556C-BF46-05B1-FB1F17591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B6493-3CBF-FD4E-EE7C-088CCE434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2292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C480C-5F0C-EF6B-69FE-88938DD64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FF698D-F9DC-8256-2772-5DCD8EA9D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7DD954-1E5D-1CA5-AF1E-089B371029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52888-0209-873C-C8AB-6DD83628DD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C10F12-C3AA-5409-24D5-7973DB32AB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828A34-700E-CCCC-89A1-489F8837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3351D-D414-4628-B6BA-F3CF23231103}" type="datetime1">
              <a:rPr lang="en-GB" smtClean="0"/>
              <a:t>29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AB6FA3-DBB1-94C6-4D07-2B495FB8D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7E0359-950B-0308-A77D-C230EF31A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151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E1CE1-03DC-4BC7-6D82-7D0A611FD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CEC0E2-AA2B-3889-9554-96F303DAF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D3F00-CE47-4FAC-9296-264952B2AD7B}" type="datetime1">
              <a:rPr lang="en-GB" smtClean="0"/>
              <a:t>29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3E8A7B-5406-5D43-99E7-8F06BC66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3C191-0DC0-D851-8C87-75F3406F3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224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83E5B6-DA1D-5638-C9A6-3CB7531BF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8160D-F348-4767-A573-6056422869C1}" type="datetime1">
              <a:rPr lang="en-GB" smtClean="0"/>
              <a:t>29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4E43F-1DF9-4A31-6750-A37A393C2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en-GB" sz="1000">
                <a:latin typeface="Darker Grotesque" pitchFamily="2" charset="0"/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05FB5-9613-E806-4DED-5DBAED25C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33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  <p15:guide id="20" orient="horz" pos="414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ACE8C-4BC2-CAA2-7451-304FBEAA8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379F71-05EB-853E-7E23-A6EAE8319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D395FD-E4E0-6076-4D07-98E0B9418D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782851-6829-4144-8DAC-B8A74FD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42BB48-99BB-40C1-9AA6-5303F798AB6D}" type="datetime1">
              <a:rPr lang="en-GB" smtClean="0"/>
              <a:t>2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4CD30E-3C31-AA44-2A8B-87C605CD0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AB089B-89C5-5A31-F472-479A7604E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6637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45329-AAE3-3E58-F378-BAD4CB611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A91E4-A116-2E09-B4CB-D5DBA73A20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7879D2-C552-EF51-DACF-B6C7FB754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E4186-D9C6-7254-A6CF-085AE5DAF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687F46-1A54-4E99-9F0F-02FD07BA3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14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54B6F-B779-6114-01F8-FC909B9E0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0AF54E-2C93-3182-A338-652AD5607C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0EA83-91B8-2F8B-D6D6-701E75F9D4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13E36D-ADA9-46F8-605E-3DB04A717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2C429-8E84-42A2-8E8C-AC5D38A08E5A}" type="datetime1">
              <a:rPr lang="en-GB" smtClean="0"/>
              <a:t>2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2E5099-E6D2-CF7B-6B64-FB3B7E6BE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B92FE7-A8B1-05B3-0C64-06952BBA8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3700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514CF-52E1-BE45-744A-368CA91C0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6A353-9914-8982-0C84-9A5695B1A4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C1416-2554-CE90-5596-7D9ED8625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64B02-EE58-467E-B191-C850F2619705}" type="datetime1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C9D2BE-7059-389A-E2C3-EAE35D11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B6406-B2CF-C5A0-55AD-808836148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591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EBDED2-2230-DDDB-24CA-10C580DD64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F548C-B125-301D-91A0-E0236E25FF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8B4E0-1400-9F08-4390-6E5ADEC28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B8236-A10F-4128-9405-4158C4F29211}" type="datetime1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8B47D6-33E1-13E1-1F4C-E66E6C56F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8F5D8-AA94-610F-1E85-D90E01FB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746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82D31-7C3E-9B21-11F3-04D042B2C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0517DC-0E3B-090C-D59E-CF4189BB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9B8AB-AECE-460D-ECF1-F71B5A9CB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B0EE6-6B9F-C899-8CB2-BFC4C22F3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DB339F-44CD-99B1-E8A1-DB352F647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5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DAB0E-B469-C409-AFFA-2E7D54D73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9159B5-6998-F676-C099-A3B516B920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BB8FA-7C7D-AAC3-03E6-C37C8DBCB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59741E-FA99-DDFE-22EC-ED37E8EFE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9B26E2-8080-3035-BA21-383ACED9E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C850BC-FE52-B1FF-6350-3E751999E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0832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B7F57-39D5-C614-4045-8C236549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1B197E-557E-4427-9EBC-537882EF5A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A809BE-7F98-0816-D773-19E230279A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3C4FD4-A360-787F-3521-F4F1240684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910C97-2AF6-44DB-A7CA-9349559F7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EE5B7E-BF9D-4409-F287-34E5C844F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F544D2-2FFC-E60C-6746-D35B7B40D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C603DE-1205-4F8E-BC80-C26DD5412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636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4CD14-B560-5502-8FA7-7C5ED2475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3E143C-9D80-7B20-53F1-F62F1622C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24EA-D8AD-8467-6FA2-551B21B89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8D5502-98CE-1730-CF44-A6E43451D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746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D3DF59-3DE8-1391-6796-F8628072A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741E8-5687-ABAE-BFDA-ABFB4E3F9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F92D4-5F01-F416-5AB8-5946FF38D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414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80FC-954B-3902-44DA-728C90F76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7B6F3C-2639-35E1-B777-330AF3DBBD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163C5E-D09C-57C5-2EC2-70882C866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DF375C-4470-09D6-15BE-9BF9331F0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8796F1-3EE7-BE1C-93CC-2135E5BBD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C2ACCB-8014-917F-BE76-14490BABA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4191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65C55-DE59-AD45-2ED2-29A791156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21D154-BEFF-4042-8137-4CE2589046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B5F2CF-5E0E-84D9-7794-1E1EC50C41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EA2CF-FF4B-F037-DBB0-1AE8C8E0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DDD2A-A5F6-F1C5-05E8-64CD9D51A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3BC7A3-B58F-13B7-9995-D27EF3824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21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50F0E9-14D8-C13A-164C-5578C2FAD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BF6759-8623-0D18-E856-4DECD53A00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B6CE54-4744-A76E-1786-3567DF9AF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D50113B-307E-4BCC-B109-BBD51B521CA0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C2A40-3DF3-1B62-CB90-5CF5DDD2B2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77C0B-632A-3E36-411B-34F99CAAF3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80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08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770F58-8B7D-F427-3309-C3D961FD3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1B47EA-74DB-F782-1229-A7D50D55DC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C7489F-CA03-DF0D-936B-836DF94942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5E39B9-08EC-4F45-925B-8D107A3A0A96}" type="datetime1">
              <a:rPr lang="en-GB" smtClean="0"/>
              <a:t>2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FD0F0-FA20-6934-DED2-4CCC6121D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108D4-B6A7-9A0C-D98B-E13304A17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43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3" Type="http://schemas.openxmlformats.org/officeDocument/2006/relationships/image" Target="../media/image1.jpeg"/><Relationship Id="rId21" Type="http://schemas.openxmlformats.org/officeDocument/2006/relationships/image" Target="../media/image18.svg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microsoft.com/office/2007/relationships/hdphoto" Target="../media/hdphoto1.wdp"/><Relationship Id="rId15" Type="http://schemas.openxmlformats.org/officeDocument/2006/relationships/image" Target="../media/image12.svg"/><Relationship Id="rId23" Type="http://schemas.openxmlformats.org/officeDocument/2006/relationships/image" Target="../media/image20.sv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4" Type="http://schemas.openxmlformats.org/officeDocument/2006/relationships/image" Target="../media/image2.png"/><Relationship Id="rId9" Type="http://schemas.openxmlformats.org/officeDocument/2006/relationships/image" Target="../media/image6.sv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slide" Target="slide10.xml"/><Relationship Id="rId18" Type="http://schemas.openxmlformats.org/officeDocument/2006/relationships/image" Target="../media/image27.png"/><Relationship Id="rId26" Type="http://schemas.openxmlformats.org/officeDocument/2006/relationships/image" Target="../media/image30.png"/><Relationship Id="rId3" Type="http://schemas.openxmlformats.org/officeDocument/2006/relationships/image" Target="../media/image21.png"/><Relationship Id="rId21" Type="http://schemas.openxmlformats.org/officeDocument/2006/relationships/slide" Target="slide18.xml"/><Relationship Id="rId7" Type="http://schemas.openxmlformats.org/officeDocument/2006/relationships/slide" Target="slide3.xml"/><Relationship Id="rId12" Type="http://schemas.openxmlformats.org/officeDocument/2006/relationships/image" Target="../media/image25.png"/><Relationship Id="rId17" Type="http://schemas.openxmlformats.org/officeDocument/2006/relationships/image" Target="../media/image260.png"/><Relationship Id="rId25" Type="http://schemas.openxmlformats.org/officeDocument/2006/relationships/image" Target="../media/image10.svg"/><Relationship Id="rId2" Type="http://schemas.openxmlformats.org/officeDocument/2006/relationships/notesSlide" Target="../notesSlides/notesSlide2.xml"/><Relationship Id="rId16" Type="http://schemas.openxmlformats.org/officeDocument/2006/relationships/slide" Target="slide15.xml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11" Type="http://schemas.openxmlformats.org/officeDocument/2006/relationships/image" Target="../media/image24.png"/><Relationship Id="rId24" Type="http://schemas.openxmlformats.org/officeDocument/2006/relationships/image" Target="../media/image29.png"/><Relationship Id="rId5" Type="http://schemas.microsoft.com/office/2007/relationships/hdphoto" Target="../media/hdphoto1.wdp"/><Relationship Id="rId15" Type="http://schemas.openxmlformats.org/officeDocument/2006/relationships/image" Target="../media/image26.png"/><Relationship Id="rId23" Type="http://schemas.openxmlformats.org/officeDocument/2006/relationships/image" Target="../media/image20.svg"/><Relationship Id="rId10" Type="http://schemas.openxmlformats.org/officeDocument/2006/relationships/slide" Target="slide6.xml"/><Relationship Id="rId19" Type="http://schemas.openxmlformats.org/officeDocument/2006/relationships/slide" Target="slide24.xml"/><Relationship Id="rId4" Type="http://schemas.openxmlformats.org/officeDocument/2006/relationships/image" Target="../media/image22.png"/><Relationship Id="rId9" Type="http://schemas.openxmlformats.org/officeDocument/2006/relationships/image" Target="../media/image24.png"/><Relationship Id="rId14" Type="http://schemas.openxmlformats.org/officeDocument/2006/relationships/image" Target="../media/image25.png"/><Relationship Id="rId22" Type="http://schemas.openxmlformats.org/officeDocument/2006/relationships/image" Target="../media/image28.png"/><Relationship Id="rId27" Type="http://schemas.openxmlformats.org/officeDocument/2006/relationships/image" Target="../media/image4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6" Type="http://schemas.microsoft.com/office/2007/relationships/hdphoto" Target="../media/hdphoto2.wdp"/><Relationship Id="rId5" Type="http://schemas.openxmlformats.org/officeDocument/2006/relationships/image" Target="../media/image31.png"/><Relationship Id="rId4" Type="http://schemas.openxmlformats.org/officeDocument/2006/relationships/image" Target="../media/image20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19.png"/><Relationship Id="rId7" Type="http://schemas.openxmlformats.org/officeDocument/2006/relationships/image" Target="../media/image33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jpg"/><Relationship Id="rId5" Type="http://schemas.openxmlformats.org/officeDocument/2006/relationships/image" Target="../media/image28.png"/><Relationship Id="rId10" Type="http://schemas.openxmlformats.org/officeDocument/2006/relationships/image" Target="../media/image36.jpg"/><Relationship Id="rId4" Type="http://schemas.openxmlformats.org/officeDocument/2006/relationships/image" Target="../media/image20.svg"/><Relationship Id="rId9" Type="http://schemas.openxmlformats.org/officeDocument/2006/relationships/image" Target="../media/image35.jp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" r="10"/>
          <a:stretch/>
        </p:blipFill>
        <p:spPr>
          <a:xfrm>
            <a:off x="0" y="2"/>
            <a:ext cx="12213113" cy="6857998"/>
          </a:xfrm>
          <a:prstGeom prst="rect">
            <a:avLst/>
          </a:prstGeom>
        </p:spPr>
      </p:pic>
      <p:sp useBgFill="1">
        <p:nvSpPr>
          <p:cNvPr id="84" name="!!mission_big">
            <a:extLst>
              <a:ext uri="{FF2B5EF4-FFF2-40B4-BE49-F238E27FC236}">
                <a16:creationId xmlns:a16="http://schemas.microsoft.com/office/drawing/2014/main" id="{6CFBC3F3-FDB5-FD3D-1481-3059D5AE927C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5" name="!!problem_big">
            <a:extLst>
              <a:ext uri="{FF2B5EF4-FFF2-40B4-BE49-F238E27FC236}">
                <a16:creationId xmlns:a16="http://schemas.microsoft.com/office/drawing/2014/main" id="{70765587-F598-D543-0EBF-D55B36CEEE1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6" name="!!solution_big">
            <a:extLst>
              <a:ext uri="{FF2B5EF4-FFF2-40B4-BE49-F238E27FC236}">
                <a16:creationId xmlns:a16="http://schemas.microsoft.com/office/drawing/2014/main" id="{C7467CC4-78EB-06D5-5CC2-826B8F952AB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7" name="!!potential_big">
            <a:extLst>
              <a:ext uri="{FF2B5EF4-FFF2-40B4-BE49-F238E27FC236}">
                <a16:creationId xmlns:a16="http://schemas.microsoft.com/office/drawing/2014/main" id="{0DD63B05-8199-0461-6984-B6F7AE7441D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8" name="!!model_big">
            <a:extLst>
              <a:ext uri="{FF2B5EF4-FFF2-40B4-BE49-F238E27FC236}">
                <a16:creationId xmlns:a16="http://schemas.microsoft.com/office/drawing/2014/main" id="{91323A8D-2FBA-BE9B-F312-A3CBEBBE7784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9" name="!!growth_big">
            <a:extLst>
              <a:ext uri="{FF2B5EF4-FFF2-40B4-BE49-F238E27FC236}">
                <a16:creationId xmlns:a16="http://schemas.microsoft.com/office/drawing/2014/main" id="{1D2DDA0C-34D1-ECC6-DC5C-7CAFDFDA342F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0" name="!!competition_big">
            <a:extLst>
              <a:ext uri="{FF2B5EF4-FFF2-40B4-BE49-F238E27FC236}">
                <a16:creationId xmlns:a16="http://schemas.microsoft.com/office/drawing/2014/main" id="{21154ADD-2272-0B48-19E1-DEF64F150958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1" name="!!finanvials_big">
            <a:extLst>
              <a:ext uri="{FF2B5EF4-FFF2-40B4-BE49-F238E27FC236}">
                <a16:creationId xmlns:a16="http://schemas.microsoft.com/office/drawing/2014/main" id="{8411AC72-885D-0B03-2EFB-F3B3BF963E0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2" name="!!team_big">
            <a:extLst>
              <a:ext uri="{FF2B5EF4-FFF2-40B4-BE49-F238E27FC236}">
                <a16:creationId xmlns:a16="http://schemas.microsoft.com/office/drawing/2014/main" id="{1658FEF9-E6D9-F422-5CE4-804A8426C251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grpSp>
        <p:nvGrpSpPr>
          <p:cNvPr id="93" name="!!mission">
            <a:extLst>
              <a:ext uri="{FF2B5EF4-FFF2-40B4-BE49-F238E27FC236}">
                <a16:creationId xmlns:a16="http://schemas.microsoft.com/office/drawing/2014/main" id="{8ABB4022-F60A-F196-E21D-86C3F9E8C5A1}"/>
              </a:ext>
            </a:extLst>
          </p:cNvPr>
          <p:cNvGrpSpPr/>
          <p:nvPr/>
        </p:nvGrpSpPr>
        <p:grpSpPr>
          <a:xfrm>
            <a:off x="6652870" y="2824776"/>
            <a:ext cx="507586" cy="507586"/>
            <a:chOff x="1700837" y="1711757"/>
            <a:chExt cx="507586" cy="507586"/>
          </a:xfrm>
        </p:grpSpPr>
        <p:sp useBgFill="1">
          <p:nvSpPr>
            <p:cNvPr id="94" name="Oval 93">
              <a:extLst>
                <a:ext uri="{FF2B5EF4-FFF2-40B4-BE49-F238E27FC236}">
                  <a16:creationId xmlns:a16="http://schemas.microsoft.com/office/drawing/2014/main" id="{F2FE31D7-9CA3-8B92-8DAC-2622D9EA35A8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F11E90DF-2951-D0AA-5249-88F7AFDCA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96" name="!!problem">
            <a:extLst>
              <a:ext uri="{FF2B5EF4-FFF2-40B4-BE49-F238E27FC236}">
                <a16:creationId xmlns:a16="http://schemas.microsoft.com/office/drawing/2014/main" id="{EBA2FDB7-75AA-72DB-A82C-DD7851826BCB}"/>
              </a:ext>
            </a:extLst>
          </p:cNvPr>
          <p:cNvGrpSpPr/>
          <p:nvPr/>
        </p:nvGrpSpPr>
        <p:grpSpPr>
          <a:xfrm>
            <a:off x="7045745" y="1917649"/>
            <a:ext cx="507586" cy="507586"/>
            <a:chOff x="2240169" y="4083721"/>
            <a:chExt cx="507586" cy="507586"/>
          </a:xfrm>
        </p:grpSpPr>
        <p:sp useBgFill="1">
          <p:nvSpPr>
            <p:cNvPr id="97" name="Oval 96">
              <a:extLst>
                <a:ext uri="{FF2B5EF4-FFF2-40B4-BE49-F238E27FC236}">
                  <a16:creationId xmlns:a16="http://schemas.microsoft.com/office/drawing/2014/main" id="{CBDBE464-FFB6-460D-1355-070C8FFC1F50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A487C0E8-ED67-0170-B6A2-7DBC56712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99" name="!!solution">
            <a:extLst>
              <a:ext uri="{FF2B5EF4-FFF2-40B4-BE49-F238E27FC236}">
                <a16:creationId xmlns:a16="http://schemas.microsoft.com/office/drawing/2014/main" id="{4315983D-37E1-2DB8-C6CD-897AB0F4A48B}"/>
              </a:ext>
            </a:extLst>
          </p:cNvPr>
          <p:cNvGrpSpPr/>
          <p:nvPr/>
        </p:nvGrpSpPr>
        <p:grpSpPr>
          <a:xfrm>
            <a:off x="7910718" y="1566928"/>
            <a:ext cx="507586" cy="507586"/>
            <a:chOff x="3825777" y="2263184"/>
            <a:chExt cx="507586" cy="507586"/>
          </a:xfrm>
        </p:grpSpPr>
        <p:sp useBgFill="1">
          <p:nvSpPr>
            <p:cNvPr id="100" name="Oval 99">
              <a:extLst>
                <a:ext uri="{FF2B5EF4-FFF2-40B4-BE49-F238E27FC236}">
                  <a16:creationId xmlns:a16="http://schemas.microsoft.com/office/drawing/2014/main" id="{466739ED-CC90-C839-AE9F-21A11220F695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1" name="Graphic 100">
              <a:extLst>
                <a:ext uri="{FF2B5EF4-FFF2-40B4-BE49-F238E27FC236}">
                  <a16:creationId xmlns:a16="http://schemas.microsoft.com/office/drawing/2014/main" id="{010F1219-9830-8E0D-73D1-3886EF6C3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102" name="!!potential">
            <a:extLst>
              <a:ext uri="{FF2B5EF4-FFF2-40B4-BE49-F238E27FC236}">
                <a16:creationId xmlns:a16="http://schemas.microsoft.com/office/drawing/2014/main" id="{7EB825F4-9A36-9B07-53BB-3512C1270479}"/>
              </a:ext>
            </a:extLst>
          </p:cNvPr>
          <p:cNvGrpSpPr/>
          <p:nvPr/>
        </p:nvGrpSpPr>
        <p:grpSpPr>
          <a:xfrm>
            <a:off x="7045745" y="3661814"/>
            <a:ext cx="507586" cy="507586"/>
            <a:chOff x="4797684" y="4481585"/>
            <a:chExt cx="507586" cy="507586"/>
          </a:xfrm>
        </p:grpSpPr>
        <p:sp useBgFill="1">
          <p:nvSpPr>
            <p:cNvPr id="103" name="Oval 102">
              <a:extLst>
                <a:ext uri="{FF2B5EF4-FFF2-40B4-BE49-F238E27FC236}">
                  <a16:creationId xmlns:a16="http://schemas.microsoft.com/office/drawing/2014/main" id="{26293457-7725-C26F-5E8D-577FFD922349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3BCCF682-C61A-869C-9529-636E04803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5" name="!!model">
            <a:extLst>
              <a:ext uri="{FF2B5EF4-FFF2-40B4-BE49-F238E27FC236}">
                <a16:creationId xmlns:a16="http://schemas.microsoft.com/office/drawing/2014/main" id="{78714283-B9F8-CB78-2DCC-FA801CDE60EE}"/>
              </a:ext>
            </a:extLst>
          </p:cNvPr>
          <p:cNvGrpSpPr/>
          <p:nvPr/>
        </p:nvGrpSpPr>
        <p:grpSpPr>
          <a:xfrm>
            <a:off x="7897432" y="2821996"/>
            <a:ext cx="507586" cy="507586"/>
            <a:chOff x="5832785" y="1868829"/>
            <a:chExt cx="507586" cy="507586"/>
          </a:xfrm>
        </p:grpSpPr>
        <p:sp useBgFill="1">
          <p:nvSpPr>
            <p:cNvPr id="106" name="Oval 105">
              <a:extLst>
                <a:ext uri="{FF2B5EF4-FFF2-40B4-BE49-F238E27FC236}">
                  <a16:creationId xmlns:a16="http://schemas.microsoft.com/office/drawing/2014/main" id="{750DC086-A827-EEA1-F118-DF41BE1504A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7" name="Graphic 106">
              <a:extLst>
                <a:ext uri="{FF2B5EF4-FFF2-40B4-BE49-F238E27FC236}">
                  <a16:creationId xmlns:a16="http://schemas.microsoft.com/office/drawing/2014/main" id="{53BC1E00-DC2C-70CA-AD01-38FA56F5D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08" name="!!growth">
            <a:extLst>
              <a:ext uri="{FF2B5EF4-FFF2-40B4-BE49-F238E27FC236}">
                <a16:creationId xmlns:a16="http://schemas.microsoft.com/office/drawing/2014/main" id="{166D8C8F-95DA-C3F8-C96B-26210A714E82}"/>
              </a:ext>
            </a:extLst>
          </p:cNvPr>
          <p:cNvGrpSpPr/>
          <p:nvPr/>
        </p:nvGrpSpPr>
        <p:grpSpPr>
          <a:xfrm>
            <a:off x="8787878" y="3661814"/>
            <a:ext cx="507586" cy="507586"/>
            <a:chOff x="6811776" y="4481585"/>
            <a:chExt cx="507586" cy="507586"/>
          </a:xfrm>
        </p:grpSpPr>
        <p:sp useBgFill="1">
          <p:nvSpPr>
            <p:cNvPr id="109" name="Oval 108">
              <a:extLst>
                <a:ext uri="{FF2B5EF4-FFF2-40B4-BE49-F238E27FC236}">
                  <a16:creationId xmlns:a16="http://schemas.microsoft.com/office/drawing/2014/main" id="{D1A935B9-16B8-4EA4-ECB5-F93E26ED1468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0" name="Graphic 109">
              <a:extLst>
                <a:ext uri="{FF2B5EF4-FFF2-40B4-BE49-F238E27FC236}">
                  <a16:creationId xmlns:a16="http://schemas.microsoft.com/office/drawing/2014/main" id="{B01ED3F3-C85A-6E07-2F45-1209EB11F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1" name="!!competition">
            <a:extLst>
              <a:ext uri="{FF2B5EF4-FFF2-40B4-BE49-F238E27FC236}">
                <a16:creationId xmlns:a16="http://schemas.microsoft.com/office/drawing/2014/main" id="{A38DA15A-EDAF-D7D1-E4A2-ADB503D14FF0}"/>
              </a:ext>
            </a:extLst>
          </p:cNvPr>
          <p:cNvGrpSpPr/>
          <p:nvPr/>
        </p:nvGrpSpPr>
        <p:grpSpPr>
          <a:xfrm>
            <a:off x="8885100" y="2043649"/>
            <a:ext cx="507586" cy="507586"/>
            <a:chOff x="7790768" y="1868829"/>
            <a:chExt cx="507586" cy="507586"/>
          </a:xfrm>
        </p:grpSpPr>
        <p:sp useBgFill="1">
          <p:nvSpPr>
            <p:cNvPr id="112" name="Oval 111">
              <a:extLst>
                <a:ext uri="{FF2B5EF4-FFF2-40B4-BE49-F238E27FC236}">
                  <a16:creationId xmlns:a16="http://schemas.microsoft.com/office/drawing/2014/main" id="{FA4ECD52-FC45-BE81-5607-1EACF898E476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A7042EB4-E775-C9F5-4107-E17F5847A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14" name="!!financials">
            <a:extLst>
              <a:ext uri="{FF2B5EF4-FFF2-40B4-BE49-F238E27FC236}">
                <a16:creationId xmlns:a16="http://schemas.microsoft.com/office/drawing/2014/main" id="{AF69D5A7-292C-208C-2C3B-0888F50AA762}"/>
              </a:ext>
            </a:extLst>
          </p:cNvPr>
          <p:cNvGrpSpPr/>
          <p:nvPr/>
        </p:nvGrpSpPr>
        <p:grpSpPr>
          <a:xfrm>
            <a:off x="7897432" y="4041607"/>
            <a:ext cx="507586" cy="507586"/>
            <a:chOff x="8769760" y="4481585"/>
            <a:chExt cx="507586" cy="507586"/>
          </a:xfrm>
        </p:grpSpPr>
        <p:sp useBgFill="1">
          <p:nvSpPr>
            <p:cNvPr id="115" name="Oval 114">
              <a:extLst>
                <a:ext uri="{FF2B5EF4-FFF2-40B4-BE49-F238E27FC236}">
                  <a16:creationId xmlns:a16="http://schemas.microsoft.com/office/drawing/2014/main" id="{1F054C56-E672-E4B6-04C9-35767206F4F3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388FB701-4737-34FB-B142-FABD96D6D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7" name="!!team">
            <a:extLst>
              <a:ext uri="{FF2B5EF4-FFF2-40B4-BE49-F238E27FC236}">
                <a16:creationId xmlns:a16="http://schemas.microsoft.com/office/drawing/2014/main" id="{BF8EA430-7BE0-C952-3460-EF403EE26AFC}"/>
              </a:ext>
            </a:extLst>
          </p:cNvPr>
          <p:cNvGrpSpPr/>
          <p:nvPr/>
        </p:nvGrpSpPr>
        <p:grpSpPr>
          <a:xfrm>
            <a:off x="9110646" y="2824776"/>
            <a:ext cx="507586" cy="507586"/>
            <a:chOff x="9748751" y="1868829"/>
            <a:chExt cx="507586" cy="507586"/>
          </a:xfrm>
        </p:grpSpPr>
        <p:sp useBgFill="1">
          <p:nvSpPr>
            <p:cNvPr id="118" name="Oval 117">
              <a:extLst>
                <a:ext uri="{FF2B5EF4-FFF2-40B4-BE49-F238E27FC236}">
                  <a16:creationId xmlns:a16="http://schemas.microsoft.com/office/drawing/2014/main" id="{9948F951-A67C-76B0-7315-7D6113CEF3E5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45AB6F8C-9C3C-6949-CA22-BAD02A87E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sp useBgFill="1"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BBAA737-4A6D-DE20-4BB9-47527FEF5B66}"/>
              </a:ext>
            </a:extLst>
          </p:cNvPr>
          <p:cNvSpPr/>
          <p:nvPr/>
        </p:nvSpPr>
        <p:spPr>
          <a:xfrm>
            <a:off x="10727703" y="132858"/>
            <a:ext cx="1319752" cy="528168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22 July 2025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A420111-AE35-BCBA-8E61-F7CE753B5A29}"/>
              </a:ext>
            </a:extLst>
          </p:cNvPr>
          <p:cNvSpPr/>
          <p:nvPr/>
        </p:nvSpPr>
        <p:spPr>
          <a:xfrm>
            <a:off x="260448" y="6250818"/>
            <a:ext cx="2501605" cy="486548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prstClr val="white"/>
                </a:solidFill>
                <a:latin typeface="Darker Grotesque" pitchFamily="2" charset="0"/>
              </a:rPr>
              <a:t>Presented by: Technological Circuit Team</a:t>
            </a:r>
            <a:endParaRPr lang="en-GB" sz="160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E435618-C748-A2CD-EDE4-FB52EF5C6676}"/>
              </a:ext>
            </a:extLst>
          </p:cNvPr>
          <p:cNvSpPr/>
          <p:nvPr/>
        </p:nvSpPr>
        <p:spPr>
          <a:xfrm>
            <a:off x="9992412" y="6196974"/>
            <a:ext cx="2055043" cy="528168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Project Presentation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2" name="Oval 1">
            <a:extLst>
              <a:ext uri="{FF2B5EF4-FFF2-40B4-BE49-F238E27FC236}">
                <a16:creationId xmlns:a16="http://schemas.microsoft.com/office/drawing/2014/main" id="{FF5A31A3-BF28-2433-3BBF-115CE72C0109}"/>
              </a:ext>
            </a:extLst>
          </p:cNvPr>
          <p:cNvSpPr/>
          <p:nvPr/>
        </p:nvSpPr>
        <p:spPr>
          <a:xfrm>
            <a:off x="282060" y="416217"/>
            <a:ext cx="776059" cy="73475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3" name="Oval 2">
            <a:extLst>
              <a:ext uri="{FF2B5EF4-FFF2-40B4-BE49-F238E27FC236}">
                <a16:creationId xmlns:a16="http://schemas.microsoft.com/office/drawing/2014/main" id="{A232ADF8-5A6D-1920-3C3D-D66020BEAB3E}"/>
              </a:ext>
            </a:extLst>
          </p:cNvPr>
          <p:cNvSpPr/>
          <p:nvPr/>
        </p:nvSpPr>
        <p:spPr>
          <a:xfrm>
            <a:off x="778475" y="240813"/>
            <a:ext cx="416014" cy="41601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30" name="Slide Title">
            <a:extLst>
              <a:ext uri="{FF2B5EF4-FFF2-40B4-BE49-F238E27FC236}">
                <a16:creationId xmlns:a16="http://schemas.microsoft.com/office/drawing/2014/main" id="{50869B1A-C228-34B2-D439-4247C207C481}"/>
              </a:ext>
            </a:extLst>
          </p:cNvPr>
          <p:cNvSpPr txBox="1"/>
          <p:nvPr/>
        </p:nvSpPr>
        <p:spPr>
          <a:xfrm>
            <a:off x="1165779" y="758010"/>
            <a:ext cx="4170535" cy="78592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lvl="0" algn="l">
              <a:lnSpc>
                <a:spcPct val="55357"/>
              </a:lnSpc>
              <a:defRPr/>
            </a:pPr>
            <a:r>
              <a:rPr lang="en-US" sz="6600" dirty="0"/>
              <a:t>Electronics</a:t>
            </a:r>
            <a:r>
              <a:rPr lang="en-US" sz="7200" dirty="0"/>
              <a:t> </a:t>
            </a:r>
            <a:endParaRPr lang="ar-SA" sz="72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9346EB2-9A8C-4BF4-9335-5834D5B46C50}"/>
              </a:ext>
            </a:extLst>
          </p:cNvPr>
          <p:cNvSpPr txBox="1"/>
          <p:nvPr/>
        </p:nvSpPr>
        <p:spPr>
          <a:xfrm>
            <a:off x="1159614" y="1550272"/>
            <a:ext cx="2365720" cy="7347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>
              <a:lnSpc>
                <a:spcPct val="55357"/>
              </a:lnSpc>
              <a:defRPr/>
            </a:pPr>
            <a:r>
              <a:rPr lang="en-US" sz="6600" dirty="0">
                <a:solidFill>
                  <a:schemeClr val="bg1"/>
                </a:solidFill>
              </a:rPr>
              <a:t>Store</a:t>
            </a:r>
            <a:r>
              <a:rPr lang="en-US" sz="1800" dirty="0"/>
              <a:t> </a:t>
            </a:r>
            <a:endParaRPr lang="ar-SA" sz="18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0680AD4-8731-4A25-B018-380A52097CF5}"/>
              </a:ext>
            </a:extLst>
          </p:cNvPr>
          <p:cNvSpPr txBox="1"/>
          <p:nvPr/>
        </p:nvSpPr>
        <p:spPr>
          <a:xfrm>
            <a:off x="1114112" y="2112883"/>
            <a:ext cx="3246775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</a:rPr>
              <a:t>Project</a:t>
            </a:r>
          </a:p>
        </p:txBody>
      </p:sp>
    </p:spTree>
    <p:extLst>
      <p:ext uri="{BB962C8B-B14F-4D97-AF65-F5344CB8AC3E}">
        <p14:creationId xmlns:p14="http://schemas.microsoft.com/office/powerpoint/2010/main" val="28607447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8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07407E-6 L 3.54167E-6 0.11389 " pathEditMode="relative" rAng="0" ptsTypes="AA">
                                      <p:cBhvr>
                                        <p:cTn id="14" dur="125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8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19" dur="125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8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24" dur="125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6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8" dur="1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0" dur="1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2" dur="1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3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4" dur="1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6" dur="1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8" dur="1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0" dur="1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2" dur="1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3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4" dur="1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5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6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7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2" grpId="1" animBg="1"/>
      <p:bldP spid="29" grpId="0" animBg="1"/>
      <p:bldP spid="29" grpId="1" animBg="1"/>
      <p:bldP spid="33" grpId="0" animBg="1"/>
      <p:bldP spid="33" grpId="1" animBg="1"/>
      <p:bldP spid="45" grpId="0" animBg="1"/>
      <p:bldP spid="45" grpId="1" animBg="1"/>
      <p:bldP spid="2" grpId="0" animBg="1"/>
      <p:bldP spid="2" grpId="1" animBg="1"/>
      <p:bldP spid="3" grpId="0" animBg="1"/>
      <p:bldP spid="3" grpId="1" animBg="1"/>
      <p:bldP spid="30" grpId="0"/>
      <p:bldP spid="30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415774" y="1782587"/>
            <a:ext cx="11327740" cy="4081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0" kern="0" dirty="0">
                <a:solidFill>
                  <a:prstClr val="white"/>
                </a:solidFill>
                <a:latin typeface="Darker Grotesque" pitchFamily="2" charset="0"/>
              </a:rPr>
              <a:t>David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0" kern="0" dirty="0">
                <a:solidFill>
                  <a:prstClr val="white"/>
                </a:solidFill>
                <a:latin typeface="Darker Grotesque" pitchFamily="2" charset="0"/>
              </a:rPr>
              <a:t> </a:t>
            </a:r>
            <a:r>
              <a:rPr lang="en-US" sz="16000" kern="0" dirty="0" err="1">
                <a:solidFill>
                  <a:prstClr val="white"/>
                </a:solidFill>
                <a:latin typeface="Darker Grotesque" pitchFamily="2" charset="0"/>
              </a:rPr>
              <a:t>Raoof</a:t>
            </a:r>
            <a:endParaRPr lang="en-US" sz="16000" kern="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B41C6C-0607-478D-A0EF-56A658BE7A1F}"/>
              </a:ext>
            </a:extLst>
          </p:cNvPr>
          <p:cNvGrpSpPr/>
          <p:nvPr/>
        </p:nvGrpSpPr>
        <p:grpSpPr>
          <a:xfrm>
            <a:off x="299484" y="7261675"/>
            <a:ext cx="11644423" cy="5495690"/>
            <a:chOff x="299484" y="369986"/>
            <a:chExt cx="11644423" cy="549569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524099C-7167-AFF7-5C88-16DF9FB5A8AA}"/>
                </a:ext>
              </a:extLst>
            </p:cNvPr>
            <p:cNvGrpSpPr/>
            <p:nvPr/>
          </p:nvGrpSpPr>
          <p:grpSpPr>
            <a:xfrm>
              <a:off x="4959423" y="1293680"/>
              <a:ext cx="2273156" cy="4571996"/>
              <a:chOff x="6607174" y="689128"/>
              <a:chExt cx="2937140" cy="5907464"/>
            </a:xfrm>
          </p:grpSpPr>
          <p:sp>
            <p:nvSpPr>
              <p:cNvPr id="39" name="insert photo" descr="Close-up of shiny dark green leaves">
                <a:extLst>
                  <a:ext uri="{FF2B5EF4-FFF2-40B4-BE49-F238E27FC236}">
                    <a16:creationId xmlns:a16="http://schemas.microsoft.com/office/drawing/2014/main" id="{D904BFC7-0AFC-0693-4B3E-9797196B7989}"/>
                  </a:ext>
                </a:extLst>
              </p:cNvPr>
              <p:cNvSpPr/>
              <p:nvPr/>
            </p:nvSpPr>
            <p:spPr>
              <a:xfrm>
                <a:off x="6716692" y="763492"/>
                <a:ext cx="2718192" cy="5765716"/>
              </a:xfrm>
              <a:custGeom>
                <a:avLst/>
                <a:gdLst>
                  <a:gd name="connsiteX0" fmla="*/ 481517 w 2718192"/>
                  <a:gd name="connsiteY0" fmla="*/ 0 h 5765716"/>
                  <a:gd name="connsiteX1" fmla="*/ 2236658 w 2718192"/>
                  <a:gd name="connsiteY1" fmla="*/ 0 h 5765716"/>
                  <a:gd name="connsiteX2" fmla="*/ 2718192 w 2718192"/>
                  <a:gd name="connsiteY2" fmla="*/ 481517 h 5765716"/>
                  <a:gd name="connsiteX3" fmla="*/ 2718192 w 2718192"/>
                  <a:gd name="connsiteY3" fmla="*/ 5284199 h 5765716"/>
                  <a:gd name="connsiteX4" fmla="*/ 2236658 w 2718192"/>
                  <a:gd name="connsiteY4" fmla="*/ 5765716 h 5765716"/>
                  <a:gd name="connsiteX5" fmla="*/ 481517 w 2718192"/>
                  <a:gd name="connsiteY5" fmla="*/ 5765716 h 5765716"/>
                  <a:gd name="connsiteX6" fmla="*/ 0 w 2718192"/>
                  <a:gd name="connsiteY6" fmla="*/ 5284199 h 5765716"/>
                  <a:gd name="connsiteX7" fmla="*/ 0 w 2718192"/>
                  <a:gd name="connsiteY7" fmla="*/ 481517 h 5765716"/>
                  <a:gd name="connsiteX8" fmla="*/ 481517 w 2718192"/>
                  <a:gd name="connsiteY8" fmla="*/ 0 h 576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18192" h="5765716">
                    <a:moveTo>
                      <a:pt x="481517" y="0"/>
                    </a:moveTo>
                    <a:lnTo>
                      <a:pt x="2236658" y="0"/>
                    </a:lnTo>
                    <a:cubicBezTo>
                      <a:pt x="2502600" y="0"/>
                      <a:pt x="2718192" y="215575"/>
                      <a:pt x="2718192" y="481517"/>
                    </a:cubicBezTo>
                    <a:lnTo>
                      <a:pt x="2718192" y="5284199"/>
                    </a:lnTo>
                    <a:cubicBezTo>
                      <a:pt x="2718192" y="5550141"/>
                      <a:pt x="2502600" y="5765716"/>
                      <a:pt x="2236658" y="5765716"/>
                    </a:cubicBezTo>
                    <a:lnTo>
                      <a:pt x="481517" y="5765716"/>
                    </a:lnTo>
                    <a:cubicBezTo>
                      <a:pt x="215575" y="5765716"/>
                      <a:pt x="0" y="5550141"/>
                      <a:pt x="0" y="5284199"/>
                    </a:cubicBezTo>
                    <a:lnTo>
                      <a:pt x="0" y="481517"/>
                    </a:lnTo>
                    <a:cubicBezTo>
                      <a:pt x="0" y="215575"/>
                      <a:pt x="215575" y="0"/>
                      <a:pt x="481517" y="0"/>
                    </a:cubicBezTo>
                    <a:close/>
                  </a:path>
                </a:pathLst>
              </a:custGeom>
              <a:blipFill dpi="0" rotWithShape="0">
                <a:blip r:embed="rId2">
                  <a:lum/>
                </a:blip>
                <a:srcRect/>
                <a:stretch>
                  <a:fillRect l="-378571" t="-145406" r="-378571" b="-236737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40" name="outside">
                <a:extLst>
                  <a:ext uri="{FF2B5EF4-FFF2-40B4-BE49-F238E27FC236}">
                    <a16:creationId xmlns:a16="http://schemas.microsoft.com/office/drawing/2014/main" id="{A4B6CF43-1956-1E3E-0EED-3A4D526E3B35}"/>
                  </a:ext>
                </a:extLst>
              </p:cNvPr>
              <p:cNvSpPr/>
              <p:nvPr/>
            </p:nvSpPr>
            <p:spPr>
              <a:xfrm>
                <a:off x="6607174" y="689128"/>
                <a:ext cx="2937140" cy="5907464"/>
              </a:xfrm>
              <a:custGeom>
                <a:avLst/>
                <a:gdLst>
                  <a:gd name="connsiteX0" fmla="*/ 22333 w 2832905"/>
                  <a:gd name="connsiteY0" fmla="*/ 2054538 h 5697817"/>
                  <a:gd name="connsiteX1" fmla="*/ 28432 w 2832905"/>
                  <a:gd name="connsiteY1" fmla="*/ 2054538 h 5697817"/>
                  <a:gd name="connsiteX2" fmla="*/ 28432 w 2832905"/>
                  <a:gd name="connsiteY2" fmla="*/ 2486797 h 5697817"/>
                  <a:gd name="connsiteX3" fmla="*/ 22333 w 2832905"/>
                  <a:gd name="connsiteY3" fmla="*/ 2486797 h 5697817"/>
                  <a:gd name="connsiteX4" fmla="*/ 10153 w 2832905"/>
                  <a:gd name="connsiteY4" fmla="*/ 2474737 h 5697817"/>
                  <a:gd name="connsiteX5" fmla="*/ 10153 w 2832905"/>
                  <a:gd name="connsiteY5" fmla="*/ 2066599 h 5697817"/>
                  <a:gd name="connsiteX6" fmla="*/ 22333 w 2832905"/>
                  <a:gd name="connsiteY6" fmla="*/ 2054538 h 5697817"/>
                  <a:gd name="connsiteX7" fmla="*/ 2814626 w 2832905"/>
                  <a:gd name="connsiteY7" fmla="*/ 1805240 h 5697817"/>
                  <a:gd name="connsiteX8" fmla="*/ 2820725 w 2832905"/>
                  <a:gd name="connsiteY8" fmla="*/ 1805240 h 5697817"/>
                  <a:gd name="connsiteX9" fmla="*/ 2832905 w 2832905"/>
                  <a:gd name="connsiteY9" fmla="*/ 1817300 h 5697817"/>
                  <a:gd name="connsiteX10" fmla="*/ 2832905 w 2832905"/>
                  <a:gd name="connsiteY10" fmla="*/ 2474737 h 5697817"/>
                  <a:gd name="connsiteX11" fmla="*/ 2820725 w 2832905"/>
                  <a:gd name="connsiteY11" fmla="*/ 2486812 h 5697817"/>
                  <a:gd name="connsiteX12" fmla="*/ 2814626 w 2832905"/>
                  <a:gd name="connsiteY12" fmla="*/ 2486812 h 5697817"/>
                  <a:gd name="connsiteX13" fmla="*/ 22333 w 2832905"/>
                  <a:gd name="connsiteY13" fmla="*/ 1505638 h 5697817"/>
                  <a:gd name="connsiteX14" fmla="*/ 28432 w 2832905"/>
                  <a:gd name="connsiteY14" fmla="*/ 1505638 h 5697817"/>
                  <a:gd name="connsiteX15" fmla="*/ 28432 w 2832905"/>
                  <a:gd name="connsiteY15" fmla="*/ 1937896 h 5697817"/>
                  <a:gd name="connsiteX16" fmla="*/ 22333 w 2832905"/>
                  <a:gd name="connsiteY16" fmla="*/ 1937896 h 5697817"/>
                  <a:gd name="connsiteX17" fmla="*/ 20797 w 2832905"/>
                  <a:gd name="connsiteY17" fmla="*/ 1937266 h 5697817"/>
                  <a:gd name="connsiteX18" fmla="*/ 13724 w 2832905"/>
                  <a:gd name="connsiteY18" fmla="*/ 1934366 h 5697817"/>
                  <a:gd name="connsiteX19" fmla="*/ 10153 w 2832905"/>
                  <a:gd name="connsiteY19" fmla="*/ 1925836 h 5697817"/>
                  <a:gd name="connsiteX20" fmla="*/ 10153 w 2832905"/>
                  <a:gd name="connsiteY20" fmla="*/ 1517698 h 5697817"/>
                  <a:gd name="connsiteX21" fmla="*/ 22333 w 2832905"/>
                  <a:gd name="connsiteY21" fmla="*/ 1505638 h 5697817"/>
                  <a:gd name="connsiteX22" fmla="*/ 12180 w 2832905"/>
                  <a:gd name="connsiteY22" fmla="*/ 1095446 h 5697817"/>
                  <a:gd name="connsiteX23" fmla="*/ 28426 w 2832905"/>
                  <a:gd name="connsiteY23" fmla="*/ 1095446 h 5697817"/>
                  <a:gd name="connsiteX24" fmla="*/ 28426 w 2832905"/>
                  <a:gd name="connsiteY24" fmla="*/ 1308564 h 5697817"/>
                  <a:gd name="connsiteX25" fmla="*/ 20757 w 2832905"/>
                  <a:gd name="connsiteY25" fmla="*/ 1308564 h 5697817"/>
                  <a:gd name="connsiteX26" fmla="*/ 12180 w 2832905"/>
                  <a:gd name="connsiteY26" fmla="*/ 1308564 h 5697817"/>
                  <a:gd name="connsiteX27" fmla="*/ 0 w 2832905"/>
                  <a:gd name="connsiteY27" fmla="*/ 1296488 h 5697817"/>
                  <a:gd name="connsiteX28" fmla="*/ 0 w 2832905"/>
                  <a:gd name="connsiteY28" fmla="*/ 1107506 h 5697817"/>
                  <a:gd name="connsiteX29" fmla="*/ 12180 w 2832905"/>
                  <a:gd name="connsiteY29" fmla="*/ 1095446 h 5697817"/>
                  <a:gd name="connsiteX30" fmla="*/ 569962 w 2832905"/>
                  <a:gd name="connsiteY30" fmla="*/ 68347 h 5697817"/>
                  <a:gd name="connsiteX31" fmla="*/ 105533 w 2832905"/>
                  <a:gd name="connsiteY31" fmla="*/ 532776 h 5697817"/>
                  <a:gd name="connsiteX32" fmla="*/ 105533 w 2832905"/>
                  <a:gd name="connsiteY32" fmla="*/ 5165018 h 5697817"/>
                  <a:gd name="connsiteX33" fmla="*/ 569962 w 2832905"/>
                  <a:gd name="connsiteY33" fmla="*/ 5629447 h 5697817"/>
                  <a:gd name="connsiteX34" fmla="*/ 2262816 w 2832905"/>
                  <a:gd name="connsiteY34" fmla="*/ 5629447 h 5697817"/>
                  <a:gd name="connsiteX35" fmla="*/ 2727260 w 2832905"/>
                  <a:gd name="connsiteY35" fmla="*/ 5165018 h 5697817"/>
                  <a:gd name="connsiteX36" fmla="*/ 2727260 w 2832905"/>
                  <a:gd name="connsiteY36" fmla="*/ 532776 h 5697817"/>
                  <a:gd name="connsiteX37" fmla="*/ 2262816 w 2832905"/>
                  <a:gd name="connsiteY37" fmla="*/ 68347 h 5697817"/>
                  <a:gd name="connsiteX38" fmla="*/ 538151 w 2832905"/>
                  <a:gd name="connsiteY38" fmla="*/ 0 h 5697817"/>
                  <a:gd name="connsiteX39" fmla="*/ 2304803 w 2832905"/>
                  <a:gd name="connsiteY39" fmla="*/ 0 h 5697817"/>
                  <a:gd name="connsiteX40" fmla="*/ 2814484 w 2832905"/>
                  <a:gd name="connsiteY40" fmla="*/ 504650 h 5697817"/>
                  <a:gd name="connsiteX41" fmla="*/ 2814484 w 2832905"/>
                  <a:gd name="connsiteY41" fmla="*/ 5193183 h 5697817"/>
                  <a:gd name="connsiteX42" fmla="*/ 2304803 w 2832905"/>
                  <a:gd name="connsiteY42" fmla="*/ 5697817 h 5697817"/>
                  <a:gd name="connsiteX43" fmla="*/ 538151 w 2832905"/>
                  <a:gd name="connsiteY43" fmla="*/ 5697817 h 5697817"/>
                  <a:gd name="connsiteX44" fmla="*/ 28455 w 2832905"/>
                  <a:gd name="connsiteY44" fmla="*/ 5193183 h 5697817"/>
                  <a:gd name="connsiteX45" fmla="*/ 28455 w 2832905"/>
                  <a:gd name="connsiteY45" fmla="*/ 504650 h 5697817"/>
                  <a:gd name="connsiteX46" fmla="*/ 538151 w 2832905"/>
                  <a:gd name="connsiteY46" fmla="*/ 0 h 569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832905" h="5697817">
                    <a:moveTo>
                      <a:pt x="22333" y="2054538"/>
                    </a:moveTo>
                    <a:lnTo>
                      <a:pt x="28432" y="2054538"/>
                    </a:lnTo>
                    <a:lnTo>
                      <a:pt x="28432" y="2486797"/>
                    </a:lnTo>
                    <a:lnTo>
                      <a:pt x="22333" y="2486797"/>
                    </a:lnTo>
                    <a:cubicBezTo>
                      <a:pt x="15615" y="2486797"/>
                      <a:pt x="10153" y="2481389"/>
                      <a:pt x="10153" y="2474737"/>
                    </a:cubicBezTo>
                    <a:lnTo>
                      <a:pt x="10153" y="2066599"/>
                    </a:lnTo>
                    <a:cubicBezTo>
                      <a:pt x="10153" y="2059946"/>
                      <a:pt x="15615" y="2054538"/>
                      <a:pt x="22333" y="2054538"/>
                    </a:cubicBezTo>
                    <a:close/>
                    <a:moveTo>
                      <a:pt x="2814626" y="1805240"/>
                    </a:moveTo>
                    <a:lnTo>
                      <a:pt x="2820725" y="1805240"/>
                    </a:lnTo>
                    <a:cubicBezTo>
                      <a:pt x="2827443" y="1805240"/>
                      <a:pt x="2832905" y="1810648"/>
                      <a:pt x="2832905" y="1817300"/>
                    </a:cubicBezTo>
                    <a:lnTo>
                      <a:pt x="2832905" y="2474737"/>
                    </a:lnTo>
                    <a:cubicBezTo>
                      <a:pt x="2832905" y="2481404"/>
                      <a:pt x="2827443" y="2486812"/>
                      <a:pt x="2820725" y="2486812"/>
                    </a:cubicBezTo>
                    <a:lnTo>
                      <a:pt x="2814626" y="2486812"/>
                    </a:lnTo>
                    <a:close/>
                    <a:moveTo>
                      <a:pt x="22333" y="1505638"/>
                    </a:moveTo>
                    <a:lnTo>
                      <a:pt x="28432" y="1505638"/>
                    </a:lnTo>
                    <a:lnTo>
                      <a:pt x="28432" y="1937896"/>
                    </a:lnTo>
                    <a:lnTo>
                      <a:pt x="22333" y="1937896"/>
                    </a:lnTo>
                    <a:lnTo>
                      <a:pt x="20797" y="1937266"/>
                    </a:lnTo>
                    <a:lnTo>
                      <a:pt x="13724" y="1934366"/>
                    </a:lnTo>
                    <a:cubicBezTo>
                      <a:pt x="11518" y="1932185"/>
                      <a:pt x="10153" y="1929170"/>
                      <a:pt x="10153" y="1925836"/>
                    </a:cubicBezTo>
                    <a:lnTo>
                      <a:pt x="10153" y="1517698"/>
                    </a:lnTo>
                    <a:cubicBezTo>
                      <a:pt x="10153" y="1511030"/>
                      <a:pt x="15615" y="1505638"/>
                      <a:pt x="22333" y="1505638"/>
                    </a:cubicBezTo>
                    <a:close/>
                    <a:moveTo>
                      <a:pt x="12180" y="1095446"/>
                    </a:moveTo>
                    <a:lnTo>
                      <a:pt x="28426" y="1095446"/>
                    </a:lnTo>
                    <a:lnTo>
                      <a:pt x="28426" y="1308564"/>
                    </a:lnTo>
                    <a:lnTo>
                      <a:pt x="20757" y="1308564"/>
                    </a:lnTo>
                    <a:lnTo>
                      <a:pt x="12180" y="1308564"/>
                    </a:lnTo>
                    <a:cubicBezTo>
                      <a:pt x="5461" y="1308564"/>
                      <a:pt x="0" y="1303156"/>
                      <a:pt x="0" y="1296488"/>
                    </a:cubicBezTo>
                    <a:lnTo>
                      <a:pt x="0" y="1107506"/>
                    </a:lnTo>
                    <a:cubicBezTo>
                      <a:pt x="0" y="1100838"/>
                      <a:pt x="5461" y="1095446"/>
                      <a:pt x="12180" y="1095446"/>
                    </a:cubicBezTo>
                    <a:close/>
                    <a:moveTo>
                      <a:pt x="569962" y="68347"/>
                    </a:moveTo>
                    <a:cubicBezTo>
                      <a:pt x="313458" y="68347"/>
                      <a:pt x="105533" y="276272"/>
                      <a:pt x="105533" y="532776"/>
                    </a:cubicBezTo>
                    <a:lnTo>
                      <a:pt x="105533" y="5165018"/>
                    </a:lnTo>
                    <a:cubicBezTo>
                      <a:pt x="105533" y="5421522"/>
                      <a:pt x="313458" y="5629447"/>
                      <a:pt x="569962" y="5629447"/>
                    </a:cubicBezTo>
                    <a:lnTo>
                      <a:pt x="2262816" y="5629447"/>
                    </a:lnTo>
                    <a:cubicBezTo>
                      <a:pt x="2519319" y="5629447"/>
                      <a:pt x="2727260" y="5421522"/>
                      <a:pt x="2727260" y="5165018"/>
                    </a:cubicBezTo>
                    <a:lnTo>
                      <a:pt x="2727260" y="532776"/>
                    </a:lnTo>
                    <a:cubicBezTo>
                      <a:pt x="2727260" y="276272"/>
                      <a:pt x="2519319" y="68347"/>
                      <a:pt x="2262816" y="68347"/>
                    </a:cubicBezTo>
                    <a:close/>
                    <a:moveTo>
                      <a:pt x="538151" y="0"/>
                    </a:moveTo>
                    <a:lnTo>
                      <a:pt x="2304803" y="0"/>
                    </a:lnTo>
                    <a:cubicBezTo>
                      <a:pt x="2586293" y="0"/>
                      <a:pt x="2814484" y="225931"/>
                      <a:pt x="2814484" y="504650"/>
                    </a:cubicBezTo>
                    <a:lnTo>
                      <a:pt x="2814484" y="5193183"/>
                    </a:lnTo>
                    <a:cubicBezTo>
                      <a:pt x="2814484" y="5471886"/>
                      <a:pt x="2586293" y="5697817"/>
                      <a:pt x="2304803" y="5697817"/>
                    </a:cubicBezTo>
                    <a:lnTo>
                      <a:pt x="538151" y="5697817"/>
                    </a:lnTo>
                    <a:cubicBezTo>
                      <a:pt x="256660" y="5697817"/>
                      <a:pt x="28455" y="5471886"/>
                      <a:pt x="28455" y="5193183"/>
                    </a:cubicBezTo>
                    <a:lnTo>
                      <a:pt x="28455" y="504650"/>
                    </a:lnTo>
                    <a:cubicBezTo>
                      <a:pt x="28455" y="225931"/>
                      <a:pt x="256660" y="0"/>
                      <a:pt x="538151" y="0"/>
                    </a:cubicBezTo>
                    <a:close/>
                  </a:path>
                </a:pathLst>
              </a:custGeom>
              <a:noFill/>
              <a:ln w="3991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  <p:sp>
            <p:nvSpPr>
              <p:cNvPr id="41" name="inside black outline">
                <a:extLst>
                  <a:ext uri="{FF2B5EF4-FFF2-40B4-BE49-F238E27FC236}">
                    <a16:creationId xmlns:a16="http://schemas.microsoft.com/office/drawing/2014/main" id="{4EB1FD68-5DC1-51AF-E279-B0A2B440BA74}"/>
                  </a:ext>
                </a:extLst>
              </p:cNvPr>
              <p:cNvSpPr/>
              <p:nvPr/>
            </p:nvSpPr>
            <p:spPr>
              <a:xfrm>
                <a:off x="6716647" y="759603"/>
                <a:ext cx="2718191" cy="5765715"/>
              </a:xfrm>
              <a:custGeom>
                <a:avLst/>
                <a:gdLst>
                  <a:gd name="connsiteX0" fmla="*/ 464470 w 2621726"/>
                  <a:gd name="connsiteY0" fmla="*/ 373 h 5561099"/>
                  <a:gd name="connsiteX1" fmla="*/ 2157324 w 2621726"/>
                  <a:gd name="connsiteY1" fmla="*/ 373 h 5561099"/>
                  <a:gd name="connsiteX2" fmla="*/ 2621768 w 2621726"/>
                  <a:gd name="connsiteY2" fmla="*/ 464802 h 5561099"/>
                  <a:gd name="connsiteX3" fmla="*/ 2621768 w 2621726"/>
                  <a:gd name="connsiteY3" fmla="*/ 5097044 h 5561099"/>
                  <a:gd name="connsiteX4" fmla="*/ 2157324 w 2621726"/>
                  <a:gd name="connsiteY4" fmla="*/ 5561473 h 5561099"/>
                  <a:gd name="connsiteX5" fmla="*/ 464470 w 2621726"/>
                  <a:gd name="connsiteY5" fmla="*/ 5561473 h 5561099"/>
                  <a:gd name="connsiteX6" fmla="*/ 41 w 2621726"/>
                  <a:gd name="connsiteY6" fmla="*/ 5097044 h 5561099"/>
                  <a:gd name="connsiteX7" fmla="*/ 41 w 2621726"/>
                  <a:gd name="connsiteY7" fmla="*/ 464802 h 5561099"/>
                  <a:gd name="connsiteX8" fmla="*/ 464470 w 2621726"/>
                  <a:gd name="connsiteY8" fmla="*/ 373 h 556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1726" h="5561099">
                    <a:moveTo>
                      <a:pt x="464470" y="373"/>
                    </a:moveTo>
                    <a:lnTo>
                      <a:pt x="2157324" y="373"/>
                    </a:lnTo>
                    <a:cubicBezTo>
                      <a:pt x="2413827" y="373"/>
                      <a:pt x="2621768" y="208298"/>
                      <a:pt x="2621768" y="464802"/>
                    </a:cubicBezTo>
                    <a:lnTo>
                      <a:pt x="2621768" y="5097044"/>
                    </a:lnTo>
                    <a:cubicBezTo>
                      <a:pt x="2621768" y="5353548"/>
                      <a:pt x="2413827" y="5561473"/>
                      <a:pt x="2157324" y="5561473"/>
                    </a:cubicBezTo>
                    <a:lnTo>
                      <a:pt x="464470" y="5561473"/>
                    </a:lnTo>
                    <a:cubicBezTo>
                      <a:pt x="207966" y="5561473"/>
                      <a:pt x="41" y="5353548"/>
                      <a:pt x="41" y="5097044"/>
                    </a:cubicBezTo>
                    <a:lnTo>
                      <a:pt x="41" y="464802"/>
                    </a:lnTo>
                    <a:cubicBezTo>
                      <a:pt x="41" y="208298"/>
                      <a:pt x="207966" y="373"/>
                      <a:pt x="464470" y="373"/>
                    </a:cubicBezTo>
                    <a:close/>
                  </a:path>
                </a:pathLst>
              </a:custGeom>
              <a:noFill/>
              <a:ln w="80427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C401321-743E-D6AD-35CA-005AB3634C30}"/>
                </a:ext>
              </a:extLst>
            </p:cNvPr>
            <p:cNvGrpSpPr/>
            <p:nvPr/>
          </p:nvGrpSpPr>
          <p:grpSpPr>
            <a:xfrm>
              <a:off x="1104844" y="1632218"/>
              <a:ext cx="3226525" cy="3416279"/>
              <a:chOff x="1405993" y="1632218"/>
              <a:chExt cx="3226525" cy="3416279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88E542E-CEB3-8319-786F-69BCB626A072}"/>
                  </a:ext>
                </a:extLst>
              </p:cNvPr>
              <p:cNvSpPr txBox="1"/>
              <p:nvPr/>
            </p:nvSpPr>
            <p:spPr>
              <a:xfrm>
                <a:off x="1405993" y="1632218"/>
                <a:ext cx="3110147" cy="16537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dirty="0"/>
                  <a:t>Your</a:t>
                </a:r>
              </a:p>
              <a:p>
                <a:pPr algn="l"/>
                <a:r>
                  <a:rPr lang="en-US" dirty="0"/>
                  <a:t>Solution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C3881440-A126-9516-13E5-1682DFBA1297}"/>
                  </a:ext>
                </a:extLst>
              </p:cNvPr>
              <p:cNvSpPr txBox="1"/>
              <p:nvPr/>
            </p:nvSpPr>
            <p:spPr>
              <a:xfrm>
                <a:off x="1522371" y="3429000"/>
                <a:ext cx="311014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GB" dirty="0"/>
                  <a:t>Provide a bit more information about your super-duper awesome solution over here. Keep it easy </a:t>
                </a:r>
                <a:r>
                  <a:rPr lang="en-GB" dirty="0" err="1"/>
                  <a:t>peasy</a:t>
                </a:r>
                <a:r>
                  <a:rPr lang="en-GB" dirty="0"/>
                  <a:t> lemon squeezy.</a:t>
                </a:r>
                <a:endParaRPr lang="en-US" dirty="0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EC8C4697-5851-5699-7B95-66C5AB1754A9}"/>
                  </a:ext>
                </a:extLst>
              </p:cNvPr>
              <p:cNvSpPr/>
              <p:nvPr/>
            </p:nvSpPr>
            <p:spPr>
              <a:xfrm>
                <a:off x="1526860" y="4667497"/>
                <a:ext cx="1198884" cy="381000"/>
              </a:xfrm>
              <a:prstGeom prst="roundRect">
                <a:avLst>
                  <a:gd name="adj" fmla="val 2333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3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Learn More</a:t>
                </a:r>
                <a:endParaRPr kumimoji="0" lang="en-GB" sz="12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Poppins SemiBold" panose="00000700000000000000" pitchFamily="2" charset="0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8B89276-1D9C-55DA-7488-9B897AB31B32}"/>
                </a:ext>
              </a:extLst>
            </p:cNvPr>
            <p:cNvGrpSpPr/>
            <p:nvPr/>
          </p:nvGrpSpPr>
          <p:grpSpPr>
            <a:xfrm>
              <a:off x="8256077" y="2877439"/>
              <a:ext cx="3035300" cy="1103122"/>
              <a:chOff x="8458994" y="2108200"/>
              <a:chExt cx="3035300" cy="1092200"/>
            </a:xfrm>
          </p:grpSpPr>
          <p:sp>
            <p:nvSpPr>
              <p:cNvPr id="33" name="Rounded Rectangle 95">
                <a:extLst>
                  <a:ext uri="{FF2B5EF4-FFF2-40B4-BE49-F238E27FC236}">
                    <a16:creationId xmlns:a16="http://schemas.microsoft.com/office/drawing/2014/main" id="{F3E4A437-8872-1AA9-FD94-0DA164965FA5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096A6B47-EE22-1CAE-271D-EFDB840798A3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CADBF6A8-4EA9-47A4-ECFA-A3F0B2C5246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2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45B12D6-B0BA-10BA-9C0A-C8088D90D3DC}"/>
                </a:ext>
              </a:extLst>
            </p:cNvPr>
            <p:cNvGrpSpPr/>
            <p:nvPr/>
          </p:nvGrpSpPr>
          <p:grpSpPr>
            <a:xfrm>
              <a:off x="8256077" y="4306436"/>
              <a:ext cx="3035300" cy="1103122"/>
              <a:chOff x="8458994" y="2108200"/>
              <a:chExt cx="3035300" cy="1092200"/>
            </a:xfrm>
          </p:grpSpPr>
          <p:sp>
            <p:nvSpPr>
              <p:cNvPr id="30" name="Rounded Rectangle 95">
                <a:extLst>
                  <a:ext uri="{FF2B5EF4-FFF2-40B4-BE49-F238E27FC236}">
                    <a16:creationId xmlns:a16="http://schemas.microsoft.com/office/drawing/2014/main" id="{137127BA-53C7-6AFF-4D64-04F3580E499F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177DADC-82F0-5F62-3CB5-01DBE4F47D06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3BD4579-5FE8-BA04-8A58-35DE4D892FC8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3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EFABC3D-3978-E905-981B-5C04484B2C38}"/>
                </a:ext>
              </a:extLst>
            </p:cNvPr>
            <p:cNvGrpSpPr/>
            <p:nvPr/>
          </p:nvGrpSpPr>
          <p:grpSpPr>
            <a:xfrm>
              <a:off x="8256077" y="1448442"/>
              <a:ext cx="3035300" cy="1103122"/>
              <a:chOff x="8458994" y="2108200"/>
              <a:chExt cx="3035300" cy="1092200"/>
            </a:xfrm>
          </p:grpSpPr>
          <p:sp>
            <p:nvSpPr>
              <p:cNvPr id="27" name="Rounded Rectangle 95">
                <a:extLst>
                  <a:ext uri="{FF2B5EF4-FFF2-40B4-BE49-F238E27FC236}">
                    <a16:creationId xmlns:a16="http://schemas.microsoft.com/office/drawing/2014/main" id="{80EB114F-F912-1B07-0FCF-BE5ACD21EF0D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4D29F2D-8F72-336F-1175-C7CA3AD16699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point. Keep it short and sweet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76EE2BC-56CE-F7B2-1D56-D54CCA8FAB2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67326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 1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F698D2E-A597-A9CD-6D20-F2F5E87460F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E473B7B-2E6E-2CA1-0A2A-489B2D4306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25" name="Oval 24">
                <a:extLst>
                  <a:ext uri="{FF2B5EF4-FFF2-40B4-BE49-F238E27FC236}">
                    <a16:creationId xmlns:a16="http://schemas.microsoft.com/office/drawing/2014/main" id="{7B5580FC-BF7A-4018-0028-091B4E870977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6" name="Graphic 25">
                <a:extLst>
                  <a:ext uri="{FF2B5EF4-FFF2-40B4-BE49-F238E27FC236}">
                    <a16:creationId xmlns:a16="http://schemas.microsoft.com/office/drawing/2014/main" id="{F61279E1-1E91-EC1B-958F-44CD2E4729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1" name="Rounded Rectangle 95">
              <a:extLst>
                <a:ext uri="{FF2B5EF4-FFF2-40B4-BE49-F238E27FC236}">
                  <a16:creationId xmlns:a16="http://schemas.microsoft.com/office/drawing/2014/main" id="{49D2C021-067B-2B32-9E36-7CE4ACFDFDC0}"/>
                </a:ext>
              </a:extLst>
            </p:cNvPr>
            <p:cNvSpPr/>
            <p:nvPr/>
          </p:nvSpPr>
          <p:spPr>
            <a:xfrm>
              <a:off x="5606087" y="1489409"/>
              <a:ext cx="947114" cy="212391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LT" sz="1000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/>
                <a:ea typeface="+mn-ea"/>
                <a:cs typeface="Poppins SemiBold" panose="00000700000000000000" pitchFamily="2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85C817C-8765-F154-ED38-353E2F7351C8}"/>
                </a:ext>
              </a:extLst>
            </p:cNvPr>
            <p:cNvGrpSpPr/>
            <p:nvPr/>
          </p:nvGrpSpPr>
          <p:grpSpPr>
            <a:xfrm>
              <a:off x="5297349" y="2529306"/>
              <a:ext cx="1597304" cy="2100745"/>
              <a:chOff x="5263645" y="2423008"/>
              <a:chExt cx="1597304" cy="2100745"/>
            </a:xfrm>
          </p:grpSpPr>
          <p:sp>
            <p:nvSpPr>
              <p:cNvPr id="13" name="Rounded Rectangle 95">
                <a:extLst>
                  <a:ext uri="{FF2B5EF4-FFF2-40B4-BE49-F238E27FC236}">
                    <a16:creationId xmlns:a16="http://schemas.microsoft.com/office/drawing/2014/main" id="{7816128E-D2F5-3EE8-BAF5-1A008BE040AF}"/>
                  </a:ext>
                </a:extLst>
              </p:cNvPr>
              <p:cNvSpPr/>
              <p:nvPr/>
            </p:nvSpPr>
            <p:spPr>
              <a:xfrm>
                <a:off x="5263645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4" name="Rounded Rectangle 95">
                <a:extLst>
                  <a:ext uri="{FF2B5EF4-FFF2-40B4-BE49-F238E27FC236}">
                    <a16:creationId xmlns:a16="http://schemas.microsoft.com/office/drawing/2014/main" id="{0E46C671-F5C8-2F2D-0A2F-1E215F565E60}"/>
                  </a:ext>
                </a:extLst>
              </p:cNvPr>
              <p:cNvSpPr/>
              <p:nvPr/>
            </p:nvSpPr>
            <p:spPr>
              <a:xfrm>
                <a:off x="5819297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5" name="Rounded Rectangle 95">
                <a:extLst>
                  <a:ext uri="{FF2B5EF4-FFF2-40B4-BE49-F238E27FC236}">
                    <a16:creationId xmlns:a16="http://schemas.microsoft.com/office/drawing/2014/main" id="{85466780-3F18-C4CD-48E2-56D1736333D8}"/>
                  </a:ext>
                </a:extLst>
              </p:cNvPr>
              <p:cNvSpPr/>
              <p:nvPr/>
            </p:nvSpPr>
            <p:spPr>
              <a:xfrm>
                <a:off x="6374949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6" name="Rounded Rectangle 95">
                <a:extLst>
                  <a:ext uri="{FF2B5EF4-FFF2-40B4-BE49-F238E27FC236}">
                    <a16:creationId xmlns:a16="http://schemas.microsoft.com/office/drawing/2014/main" id="{2D31F477-F097-537A-A6D2-8A1A5A6BBD92}"/>
                  </a:ext>
                </a:extLst>
              </p:cNvPr>
              <p:cNvSpPr/>
              <p:nvPr/>
            </p:nvSpPr>
            <p:spPr>
              <a:xfrm>
                <a:off x="5263645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7" name="Rounded Rectangle 95">
                <a:extLst>
                  <a:ext uri="{FF2B5EF4-FFF2-40B4-BE49-F238E27FC236}">
                    <a16:creationId xmlns:a16="http://schemas.microsoft.com/office/drawing/2014/main" id="{65D67D79-31E0-6081-A56F-4D43DF267A40}"/>
                  </a:ext>
                </a:extLst>
              </p:cNvPr>
              <p:cNvSpPr/>
              <p:nvPr/>
            </p:nvSpPr>
            <p:spPr>
              <a:xfrm>
                <a:off x="5819297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C5581402-E472-FA28-CF05-3C2605757A92}"/>
                  </a:ext>
                </a:extLst>
              </p:cNvPr>
              <p:cNvSpPr/>
              <p:nvPr/>
            </p:nvSpPr>
            <p:spPr>
              <a:xfrm>
                <a:off x="6374949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Rounded Rectangle 95">
                <a:extLst>
                  <a:ext uri="{FF2B5EF4-FFF2-40B4-BE49-F238E27FC236}">
                    <a16:creationId xmlns:a16="http://schemas.microsoft.com/office/drawing/2014/main" id="{3CECC0D4-726E-40A7-AE39-1F3F003EF244}"/>
                  </a:ext>
                </a:extLst>
              </p:cNvPr>
              <p:cNvSpPr/>
              <p:nvPr/>
            </p:nvSpPr>
            <p:spPr>
              <a:xfrm>
                <a:off x="5263645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0" name="Rounded Rectangle 95">
                <a:extLst>
                  <a:ext uri="{FF2B5EF4-FFF2-40B4-BE49-F238E27FC236}">
                    <a16:creationId xmlns:a16="http://schemas.microsoft.com/office/drawing/2014/main" id="{91D8E000-EBCD-E380-1D80-B377FB12CC69}"/>
                  </a:ext>
                </a:extLst>
              </p:cNvPr>
              <p:cNvSpPr/>
              <p:nvPr/>
            </p:nvSpPr>
            <p:spPr>
              <a:xfrm>
                <a:off x="5819297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1" name="Rounded Rectangle 95">
                <a:extLst>
                  <a:ext uri="{FF2B5EF4-FFF2-40B4-BE49-F238E27FC236}">
                    <a16:creationId xmlns:a16="http://schemas.microsoft.com/office/drawing/2014/main" id="{F4723259-F5D0-0AC6-6B20-1EC51819F3E7}"/>
                  </a:ext>
                </a:extLst>
              </p:cNvPr>
              <p:cNvSpPr/>
              <p:nvPr/>
            </p:nvSpPr>
            <p:spPr>
              <a:xfrm>
                <a:off x="6374949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92BCA6C2-B229-680A-6B29-64FEE8E8B357}"/>
                  </a:ext>
                </a:extLst>
              </p:cNvPr>
              <p:cNvSpPr/>
              <p:nvPr/>
            </p:nvSpPr>
            <p:spPr>
              <a:xfrm>
                <a:off x="5263645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Rounded Rectangle 95">
                <a:extLst>
                  <a:ext uri="{FF2B5EF4-FFF2-40B4-BE49-F238E27FC236}">
                    <a16:creationId xmlns:a16="http://schemas.microsoft.com/office/drawing/2014/main" id="{F9380988-6CEE-CDFE-F325-9FC2778AE76A}"/>
                  </a:ext>
                </a:extLst>
              </p:cNvPr>
              <p:cNvSpPr/>
              <p:nvPr/>
            </p:nvSpPr>
            <p:spPr>
              <a:xfrm>
                <a:off x="5819297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4" name="Rounded Rectangle 95">
                <a:extLst>
                  <a:ext uri="{FF2B5EF4-FFF2-40B4-BE49-F238E27FC236}">
                    <a16:creationId xmlns:a16="http://schemas.microsoft.com/office/drawing/2014/main" id="{9BF87774-250B-CB09-57CF-E5E04283C62A}"/>
                  </a:ext>
                </a:extLst>
              </p:cNvPr>
              <p:cNvSpPr/>
              <p:nvPr/>
            </p:nvSpPr>
            <p:spPr>
              <a:xfrm>
                <a:off x="6374949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20100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3DE8C32B-42B7-4319-B439-43E5E1F668C7}"/>
              </a:ext>
            </a:extLst>
          </p:cNvPr>
          <p:cNvSpPr txBox="1"/>
          <p:nvPr/>
        </p:nvSpPr>
        <p:spPr>
          <a:xfrm>
            <a:off x="7107809" y="287901"/>
            <a:ext cx="480767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200" b="1" u="sng" dirty="0">
                <a:solidFill>
                  <a:schemeClr val="bg1"/>
                </a:solidFill>
              </a:rPr>
              <a:t>1-شريط التنقل العلوي (</a:t>
            </a:r>
            <a:r>
              <a:rPr lang="en-US" sz="3200" b="1" u="sng" dirty="0">
                <a:solidFill>
                  <a:schemeClr val="bg1"/>
                </a:solidFill>
              </a:rPr>
              <a:t>Navbar</a:t>
            </a:r>
            <a:r>
              <a:rPr lang="ar-SA" sz="3200" b="1" u="sng" dirty="0">
                <a:solidFill>
                  <a:schemeClr val="bg1"/>
                </a:solidFill>
              </a:rPr>
              <a:t>)</a:t>
            </a:r>
          </a:p>
          <a:p>
            <a:pPr algn="r" rtl="1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590F242-2D3C-42E5-BB9E-0EA8EFF5E6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2941" y="1605264"/>
            <a:ext cx="10444899" cy="4524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ar-SA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ـ</a:t>
            </a:r>
            <a:r>
              <a:rPr kumimoji="0" lang="en-US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Navbar </a:t>
            </a:r>
            <a:r>
              <a:rPr kumimoji="0" lang="ar-SA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هو الجزء اللي بيظهر فوق في كل صفحات الموقع. دوره الأساسي إنه يساعد المستخدم يتنقل بسرعة بين الصفحات زي الرئيسية، المنتجات، العربة، وتسجيل الدخول</a:t>
            </a:r>
            <a:r>
              <a:rPr kumimoji="0" lang="en-US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3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ar-SA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في الموبايل، بيتحوّل لقائمة جانبية بتظهر بزر الـ</a:t>
            </a:r>
            <a:r>
              <a:rPr kumimoji="0" lang="en-US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Hamburger Menu، </a:t>
            </a:r>
            <a:r>
              <a:rPr kumimoji="0" lang="ar-SA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وده بيحافظ على شكل الموقع ويخلّيه منظم</a:t>
            </a:r>
            <a:r>
              <a:rPr kumimoji="0" lang="en-US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3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ar-SA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ستخدمنا</a:t>
            </a:r>
            <a:r>
              <a:rPr kumimoji="0" lang="en-US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eact Components </a:t>
            </a:r>
            <a:r>
              <a:rPr kumimoji="0" lang="ar-SA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علشان نخلي الكود مرن وسهل نعيد استخدامه، وكمان استخدمنا</a:t>
            </a:r>
            <a:r>
              <a:rPr kumimoji="0" lang="en-US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ailwind </a:t>
            </a:r>
            <a:r>
              <a:rPr kumimoji="0" lang="ar-SA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أو</a:t>
            </a:r>
            <a:r>
              <a:rPr kumimoji="0" lang="en-US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Bootstrap </a:t>
            </a:r>
            <a:r>
              <a:rPr kumimoji="0" lang="ar-SA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علشان يكون متجاوب مع كل الشاشات</a:t>
            </a:r>
            <a:r>
              <a:rPr kumimoji="0" lang="en-US" altLang="en-US" sz="3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3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6046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AE470A-4C1F-43FE-8E7D-958330BF7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2E1EDA-61E1-44C0-B555-06FEFF65961C}"/>
              </a:ext>
            </a:extLst>
          </p:cNvPr>
          <p:cNvSpPr txBox="1"/>
          <p:nvPr/>
        </p:nvSpPr>
        <p:spPr>
          <a:xfrm>
            <a:off x="9455084" y="377575"/>
            <a:ext cx="24239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2800" b="1" u="sng" dirty="0">
                <a:solidFill>
                  <a:schemeClr val="bg1"/>
                </a:solidFill>
              </a:rPr>
              <a:t>2-</a:t>
            </a:r>
            <a:r>
              <a:rPr lang="en-US" sz="2800" b="1" u="sng" dirty="0">
                <a:solidFill>
                  <a:schemeClr val="bg1"/>
                </a:solidFill>
              </a:rPr>
              <a:t>Footer </a:t>
            </a:r>
            <a:endParaRPr lang="ar-SA" sz="2800" u="sng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61A966-DB1A-4A23-8A0B-0EEBB06ED557}"/>
              </a:ext>
            </a:extLst>
          </p:cNvPr>
          <p:cNvSpPr txBox="1"/>
          <p:nvPr/>
        </p:nvSpPr>
        <p:spPr>
          <a:xfrm>
            <a:off x="1185317" y="1452042"/>
            <a:ext cx="1051088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dirty="0">
                <a:solidFill>
                  <a:schemeClr val="bg1"/>
                </a:solidFill>
              </a:rPr>
              <a:t>دوره الأساسي إنه يكون نهاية مرتبة لكل صفحة، ويحتوي على معلومات إضافية زي روابط التواصل، سياسة الخصوصية، أو نبذة عن الموقع.</a:t>
            </a:r>
          </a:p>
          <a:p>
            <a:pPr algn="r" rtl="1"/>
            <a:r>
              <a:rPr lang="ar-SA" sz="3600" b="1" dirty="0">
                <a:solidFill>
                  <a:schemeClr val="bg1"/>
                </a:solidFill>
              </a:rPr>
              <a:t>بنستخدم الفوتر علشان ندي للموقع شكل احترافي، ونساعد المستخدم يوصل لحاجات مش أساسية لكن ممكن يحتاجها.</a:t>
            </a:r>
          </a:p>
          <a:p>
            <a:pPr algn="r" rtl="1"/>
            <a:r>
              <a:rPr lang="ar-SA" sz="3600" b="1" dirty="0">
                <a:solidFill>
                  <a:schemeClr val="bg1"/>
                </a:solidFill>
              </a:rPr>
              <a:t>كمان خليّناه متجاوب مع كل الشاشات، واستخدمنا فيه </a:t>
            </a:r>
            <a:r>
              <a:rPr lang="en-US" sz="3600" b="1" dirty="0">
                <a:solidFill>
                  <a:schemeClr val="bg1"/>
                </a:solidFill>
              </a:rPr>
              <a:t>Tailwind </a:t>
            </a:r>
            <a:r>
              <a:rPr lang="ar-SA" sz="3600" b="1" dirty="0">
                <a:solidFill>
                  <a:schemeClr val="bg1"/>
                </a:solidFill>
              </a:rPr>
              <a:t>أو </a:t>
            </a:r>
            <a:r>
              <a:rPr lang="en-US" sz="3600" b="1" dirty="0">
                <a:solidFill>
                  <a:schemeClr val="bg1"/>
                </a:solidFill>
              </a:rPr>
              <a:t>Bootstrap </a:t>
            </a:r>
            <a:r>
              <a:rPr lang="ar-SA" sz="3600" b="1" dirty="0">
                <a:solidFill>
                  <a:schemeClr val="bg1"/>
                </a:solidFill>
              </a:rPr>
              <a:t>عشان يفضل شكله ثابت ومرتب سواء على الموبايل أو الكمبيوتر.</a:t>
            </a:r>
          </a:p>
        </p:txBody>
      </p:sp>
    </p:spTree>
    <p:extLst>
      <p:ext uri="{BB962C8B-B14F-4D97-AF65-F5344CB8AC3E}">
        <p14:creationId xmlns:p14="http://schemas.microsoft.com/office/powerpoint/2010/main" val="17124778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CEF6F21-2E06-49E7-8B4C-43CD76992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4631FE-EE32-46AD-81D2-2B937FF7DFB1}"/>
              </a:ext>
            </a:extLst>
          </p:cNvPr>
          <p:cNvSpPr txBox="1"/>
          <p:nvPr/>
        </p:nvSpPr>
        <p:spPr>
          <a:xfrm>
            <a:off x="4206240" y="540067"/>
            <a:ext cx="76545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u="sng" dirty="0">
                <a:solidFill>
                  <a:schemeClr val="bg1"/>
                </a:solidFill>
              </a:rPr>
              <a:t>3-صفحة المنتج الواحد(</a:t>
            </a:r>
            <a:r>
              <a:rPr lang="en-US" sz="3600" b="1" u="sng" dirty="0">
                <a:solidFill>
                  <a:schemeClr val="bg1"/>
                </a:solidFill>
              </a:rPr>
              <a:t>Single Product Page</a:t>
            </a:r>
            <a:r>
              <a:rPr lang="ar-SA" sz="3600" b="1" u="sng" dirty="0">
                <a:solidFill>
                  <a:schemeClr val="bg1"/>
                </a:solidFill>
              </a:rPr>
              <a:t>)</a:t>
            </a:r>
            <a:endParaRPr lang="en-US" sz="3600" u="sng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C96463-B5FE-40B4-A9B4-01B644EE3A82}"/>
              </a:ext>
            </a:extLst>
          </p:cNvPr>
          <p:cNvSpPr txBox="1"/>
          <p:nvPr/>
        </p:nvSpPr>
        <p:spPr>
          <a:xfrm>
            <a:off x="1478280" y="1853833"/>
            <a:ext cx="10199644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400" b="1" dirty="0">
                <a:solidFill>
                  <a:schemeClr val="bg1"/>
                </a:solidFill>
              </a:rPr>
              <a:t>صفحة المنتج الواحد بتظهر لما المستخدم يضغط على منتج معين.</a:t>
            </a:r>
            <a:br>
              <a:rPr lang="ar-SA" sz="3400" b="1" dirty="0">
                <a:solidFill>
                  <a:schemeClr val="bg1"/>
                </a:solidFill>
              </a:rPr>
            </a:br>
            <a:r>
              <a:rPr lang="ar-SA" sz="3400" b="1" dirty="0">
                <a:solidFill>
                  <a:schemeClr val="bg1"/>
                </a:solidFill>
              </a:rPr>
              <a:t>فيها كل التفاصيل المهمة عن المنتج زي اسمه، الصورة، السعر، والوصف.</a:t>
            </a:r>
            <a:br>
              <a:rPr lang="ar-SA" sz="3400" b="1" dirty="0">
                <a:solidFill>
                  <a:schemeClr val="bg1"/>
                </a:solidFill>
              </a:rPr>
            </a:br>
            <a:r>
              <a:rPr lang="ar-SA" sz="3400" b="1" dirty="0">
                <a:solidFill>
                  <a:schemeClr val="bg1"/>
                </a:solidFill>
              </a:rPr>
              <a:t>المستخدم من الصفحة دي بيقدر يضيف المنتج للعربة أو يشوف المراجعات لو موجودة.</a:t>
            </a:r>
          </a:p>
          <a:p>
            <a:pPr algn="r" rtl="1"/>
            <a:r>
              <a:rPr lang="ar-SA" sz="3400" b="1" dirty="0">
                <a:solidFill>
                  <a:schemeClr val="bg1"/>
                </a:solidFill>
              </a:rPr>
              <a:t>الهدف منها إننا نعرض المنتج بشكل واضح، ونساعد المستخدم ياخد قرار الشراء بسهولة.</a:t>
            </a:r>
            <a:br>
              <a:rPr lang="ar-SA" sz="3400" b="1" dirty="0">
                <a:solidFill>
                  <a:schemeClr val="bg1"/>
                </a:solidFill>
              </a:rPr>
            </a:br>
            <a:r>
              <a:rPr lang="ar-SA" sz="3400" b="1" dirty="0">
                <a:solidFill>
                  <a:schemeClr val="bg1"/>
                </a:solidFill>
              </a:rPr>
              <a:t>صممناها بشكل بسيط وواضح، ومتجاوبة مع كل الشاشات.</a:t>
            </a:r>
          </a:p>
        </p:txBody>
      </p:sp>
    </p:spTree>
    <p:extLst>
      <p:ext uri="{BB962C8B-B14F-4D97-AF65-F5344CB8AC3E}">
        <p14:creationId xmlns:p14="http://schemas.microsoft.com/office/powerpoint/2010/main" val="1827566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EF6D3D-3B8D-4B5A-98DB-3E7C53BDD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151CDA-B592-4B2B-9CC4-3144A06B78B7}"/>
              </a:ext>
            </a:extLst>
          </p:cNvPr>
          <p:cNvSpPr txBox="1"/>
          <p:nvPr/>
        </p:nvSpPr>
        <p:spPr>
          <a:xfrm>
            <a:off x="6294120" y="397440"/>
            <a:ext cx="515709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200" b="1" u="sng" dirty="0">
                <a:solidFill>
                  <a:schemeClr val="bg1"/>
                </a:solidFill>
              </a:rPr>
              <a:t>4-الرسوم المتحركة(</a:t>
            </a:r>
            <a:r>
              <a:rPr lang="en-US" sz="3200" b="1" u="sng" dirty="0">
                <a:solidFill>
                  <a:schemeClr val="bg1"/>
                </a:solidFill>
              </a:rPr>
              <a:t>Animations</a:t>
            </a:r>
            <a:r>
              <a:rPr lang="ar-SA" sz="3200" b="1" u="sng" dirty="0">
                <a:solidFill>
                  <a:schemeClr val="bg1"/>
                </a:solidFill>
              </a:rPr>
              <a:t>)</a:t>
            </a:r>
            <a:endParaRPr lang="en-US" sz="3200" u="sng" dirty="0">
              <a:solidFill>
                <a:schemeClr val="bg1"/>
              </a:solidFill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34C1598-5014-45CF-B434-BD656EEEDC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5961" y="1565761"/>
            <a:ext cx="9665986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ستخدمنا رسوم متحركة بسيطة في بعض الأجزاء علشان نحسّن تجربة المستخدم، زي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حركة ظهور العناصر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fade in)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نقل بين الصفحات بسلاسة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أثيرات عند إضافة منتج للعربة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أنيميشن خلى التفاعل مع الموقع أحسن، وحسّس المستخدم إن الموقع حيّ ومريح في الاستخدام.</a:t>
            </a:r>
            <a:b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ar-SA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ممكن نكون استخدمنا مكتبة زي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Framer Motion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ar-SA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أو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CSS Transitions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ar-SA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عشان نطبّق ده بشكل خفيف وسلس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.</a:t>
            </a:r>
            <a:endParaRPr kumimoji="0" lang="en-US" altLang="en-US" sz="2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254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1913260" y="1154033"/>
            <a:ext cx="887306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Silvan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26131F0-3A29-5730-6A6B-57E94D529E2E}"/>
              </a:ext>
            </a:extLst>
          </p:cNvPr>
          <p:cNvGrpSpPr/>
          <p:nvPr/>
        </p:nvGrpSpPr>
        <p:grpSpPr>
          <a:xfrm>
            <a:off x="248093" y="7194298"/>
            <a:ext cx="11695814" cy="6080463"/>
            <a:chOff x="248093" y="369986"/>
            <a:chExt cx="11695814" cy="608046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573A5413-33BB-713C-9391-F35CE50A780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5DA510CD-06FB-60D3-9741-5910D573AD6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88217679"/>
                </p:ext>
              </p:extLst>
            </p:nvPr>
          </p:nvGraphicFramePr>
          <p:xfrm>
            <a:off x="299485" y="719666"/>
            <a:ext cx="11644422" cy="5418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3FDB084-3F71-BD84-B1A7-B6D4A99E5FE7}"/>
                </a:ext>
              </a:extLst>
            </p:cNvPr>
            <p:cNvSpPr txBox="1"/>
            <p:nvPr/>
          </p:nvSpPr>
          <p:spPr>
            <a:xfrm>
              <a:off x="248093" y="1163311"/>
              <a:ext cx="6826475" cy="19899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6600" dirty="0"/>
                <a:t>The market for our product is large and growing fast.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A2B3FC2-D86C-1683-25CB-E6F143533BD0}"/>
                </a:ext>
              </a:extLst>
            </p:cNvPr>
            <p:cNvSpPr/>
            <p:nvPr/>
          </p:nvSpPr>
          <p:spPr>
            <a:xfrm>
              <a:off x="685181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4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FD16722-61CD-7F56-65D9-F27E807CBE8B}"/>
                </a:ext>
              </a:extLst>
            </p:cNvPr>
            <p:cNvSpPr/>
            <p:nvPr/>
          </p:nvSpPr>
          <p:spPr>
            <a:xfrm>
              <a:off x="2609732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5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A8C6631-A049-A8E9-0462-65B1B005EA22}"/>
                </a:ext>
              </a:extLst>
            </p:cNvPr>
            <p:cNvSpPr/>
            <p:nvPr/>
          </p:nvSpPr>
          <p:spPr>
            <a:xfrm>
              <a:off x="4534283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6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F93FCC6-B8E5-7F51-BE0C-89F8DEC375A8}"/>
                </a:ext>
              </a:extLst>
            </p:cNvPr>
            <p:cNvSpPr/>
            <p:nvPr/>
          </p:nvSpPr>
          <p:spPr>
            <a:xfrm>
              <a:off x="6458834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7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41E84E80-339F-0640-ADF3-33491F3E712C}"/>
                </a:ext>
              </a:extLst>
            </p:cNvPr>
            <p:cNvSpPr/>
            <p:nvPr/>
          </p:nvSpPr>
          <p:spPr>
            <a:xfrm>
              <a:off x="838338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8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ABCBF7-6D8C-6975-8536-B683F510D734}"/>
                </a:ext>
              </a:extLst>
            </p:cNvPr>
            <p:cNvSpPr/>
            <p:nvPr/>
          </p:nvSpPr>
          <p:spPr>
            <a:xfrm>
              <a:off x="1030793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9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grpSp>
          <p:nvGrpSpPr>
            <p:cNvPr id="15" name="!!potential">
              <a:extLst>
                <a:ext uri="{FF2B5EF4-FFF2-40B4-BE49-F238E27FC236}">
                  <a16:creationId xmlns:a16="http://schemas.microsoft.com/office/drawing/2014/main" id="{12C6DFC5-9389-48E0-2344-7831A5397E3C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16" name="Oval 15">
                <a:extLst>
                  <a:ext uri="{FF2B5EF4-FFF2-40B4-BE49-F238E27FC236}">
                    <a16:creationId xmlns:a16="http://schemas.microsoft.com/office/drawing/2014/main" id="{2988A1AE-41CF-DF99-F24D-D212DEF80D2F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05293244-65D6-7CFC-A97C-E43494DA77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74002D64-E4E4-4169-B309-F8D184CE930E}"/>
              </a:ext>
            </a:extLst>
          </p:cNvPr>
          <p:cNvSpPr txBox="1"/>
          <p:nvPr/>
        </p:nvSpPr>
        <p:spPr>
          <a:xfrm>
            <a:off x="2022301" y="3397043"/>
            <a:ext cx="887306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0" kern="0" dirty="0" err="1">
                <a:solidFill>
                  <a:prstClr val="white"/>
                </a:solidFill>
                <a:latin typeface="Darker Grotesque" pitchFamily="2" charset="0"/>
              </a:rPr>
              <a:t>Sameh</a:t>
            </a:r>
            <a:endParaRPr lang="en-US" sz="20000" kern="0" dirty="0">
              <a:solidFill>
                <a:prstClr val="white"/>
              </a:solidFill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9603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7CC514-6F38-4E0C-A7D5-A185B5363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esigned by One Skill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5F159C37-91A5-4C72-B1DE-61B0BF7686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183" y="1423299"/>
            <a:ext cx="11174660" cy="378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الصفحة دي هي أول حاجة المستخدم بيشوفها لما يدخل الموقع، وهدفها إنها ترحب به وتوجّهه بسهولة لأقسام المنتجات المختلفة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بتحتوي على بانر ترحيبي جذاب، وأقسام أو منتجات مميزة علشان نلفت نظر المستخدم لحاجات ممكن تهمه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صممنا الصفحة بطريقة بسيطة وسريعة، بحيث تكون خفيفة في التحميل وتشتغل بشكل ممتاز على الموبايل والكمبيوتر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اهتمينا باستخدام تصميم مرن وبسيط، علشان نخلّي التنقل مريح ومافيهوش زحمة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وكمان وفرنا فيها تجربة بداية سلسة تشجع المستخدم إنه يتصفح ويكمل جواه الموقع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B3CC5-BB64-40F1-B2B1-6DD35437103B}"/>
              </a:ext>
            </a:extLst>
          </p:cNvPr>
          <p:cNvSpPr txBox="1"/>
          <p:nvPr/>
        </p:nvSpPr>
        <p:spPr>
          <a:xfrm>
            <a:off x="5500808" y="136525"/>
            <a:ext cx="644935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u="sng" dirty="0">
                <a:solidFill>
                  <a:schemeClr val="bg1"/>
                </a:solidFill>
              </a:rPr>
              <a:t>1-الصفحة الرئيسية (</a:t>
            </a:r>
            <a:r>
              <a:rPr lang="en-US" sz="3600" b="1" u="sng" dirty="0">
                <a:solidFill>
                  <a:schemeClr val="bg1"/>
                </a:solidFill>
              </a:rPr>
              <a:t>Home Page</a:t>
            </a:r>
            <a:r>
              <a:rPr lang="ar-SA" sz="3600" b="1" u="sng" dirty="0">
                <a:solidFill>
                  <a:schemeClr val="bg1"/>
                </a:solidFill>
              </a:rPr>
              <a:t>)</a:t>
            </a:r>
            <a:endParaRPr lang="en-US" sz="3600" b="1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4333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782C27-3D42-4C50-8E60-348D0CCDE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EEEDE7-A9AE-4441-A64C-2DB6D7E99CFC}"/>
              </a:ext>
            </a:extLst>
          </p:cNvPr>
          <p:cNvSpPr txBox="1"/>
          <p:nvPr/>
        </p:nvSpPr>
        <p:spPr>
          <a:xfrm>
            <a:off x="5699567" y="249384"/>
            <a:ext cx="60940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u="sng" dirty="0">
                <a:solidFill>
                  <a:schemeClr val="bg1"/>
                </a:solidFill>
              </a:rPr>
              <a:t>2-صفحة تأكيد الطلب (</a:t>
            </a:r>
            <a:r>
              <a:rPr lang="en-US" sz="3600" b="1" u="sng" dirty="0">
                <a:solidFill>
                  <a:schemeClr val="bg1"/>
                </a:solidFill>
              </a:rPr>
              <a:t>Order Page</a:t>
            </a:r>
            <a:r>
              <a:rPr lang="ar-SA" sz="3600" b="1" u="sng" dirty="0">
                <a:solidFill>
                  <a:schemeClr val="bg1"/>
                </a:solidFill>
              </a:rPr>
              <a:t>)</a:t>
            </a:r>
            <a:endParaRPr lang="en-US" sz="3600" u="sng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A593A7-494B-42CE-9D59-A52A12EB2754}"/>
              </a:ext>
            </a:extLst>
          </p:cNvPr>
          <p:cNvSpPr txBox="1"/>
          <p:nvPr/>
        </p:nvSpPr>
        <p:spPr>
          <a:xfrm>
            <a:off x="1064871" y="1433572"/>
            <a:ext cx="10837762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دي الصفحة اللي المستخدم بيوصل لها في آخر خطوة قبل تنفيذ عملية الشراء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بيشوف فيها ملخص الطلب بالكامل: المنتجات اللي هيشتريها، الكمية، السعر النهائي، العنوان، وطريقة الدفع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الهدف منها إن المستخدم يراجع كل التفاصيل ويتأكد إن كل حاجة تمام قبل ما يضغط على زر "إتمام الطلب"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خلينا التصميم واضح ومنظم، وسهّلنا على المستخدم إنه يراجع ويعدّل أي حاجة لو حب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ضفنا لمسة بسيطة من الأنيميشن لتفاعل الأزرار وعرض البيانات بشكل مريح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وحرصنا كمان إن الصفحة تشتغل بكفاءة على كل الأجهزة، خصوصًا وقت مراجعة الطلب من الموبايل.</a:t>
            </a:r>
          </a:p>
        </p:txBody>
      </p:sp>
    </p:spTree>
    <p:extLst>
      <p:ext uri="{BB962C8B-B14F-4D97-AF65-F5344CB8AC3E}">
        <p14:creationId xmlns:p14="http://schemas.microsoft.com/office/powerpoint/2010/main" val="414035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296B7FE8-2BE0-4459-9228-3225AB86A8BF}"/>
              </a:ext>
            </a:extLst>
          </p:cNvPr>
          <p:cNvSpPr txBox="1"/>
          <p:nvPr/>
        </p:nvSpPr>
        <p:spPr>
          <a:xfrm>
            <a:off x="1637802" y="1468521"/>
            <a:ext cx="8206818" cy="40811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0" kern="0" dirty="0">
                <a:solidFill>
                  <a:prstClr val="white"/>
                </a:solidFill>
                <a:latin typeface="Darker Grotesque" pitchFamily="2" charset="0"/>
              </a:rPr>
              <a:t>Hamza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0" kern="0" dirty="0">
                <a:solidFill>
                  <a:prstClr val="white"/>
                </a:solidFill>
                <a:latin typeface="Darker Grotesque" pitchFamily="2" charset="0"/>
              </a:rPr>
              <a:t> </a:t>
            </a:r>
            <a:r>
              <a:rPr lang="en-US" sz="16000" kern="0" dirty="0" err="1">
                <a:solidFill>
                  <a:prstClr val="white"/>
                </a:solidFill>
                <a:latin typeface="Darker Grotesque" pitchFamily="2" charset="0"/>
              </a:rPr>
              <a:t>Mosaad</a:t>
            </a:r>
            <a:endParaRPr kumimoji="0" lang="en-US" sz="16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56429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380059-0287-4585-9750-05646D11A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293775"/>
            <a:ext cx="4114800" cy="365125"/>
          </a:xfrm>
        </p:spPr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4A0BED17-26C7-43ED-82B1-38B848EE06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032" y="1476641"/>
            <a:ext cx="11179849" cy="4708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الصفحة دي بتعرض كل المنتجات المتوفرة في المتجر بشكل منظم وسهل التصفح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صممناها علشان تكون مريحة للمستخدم، يقدر منها يتصفح المنتجات، يشوف الصور والأسعار، ويضيف اللي يعجبه للعربة أو المفضلة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أضفنا فيها خاصية البحث (</a:t>
            </a:r>
            <a:r>
              <a:rPr lang="en-US" sz="3000" b="1" dirty="0">
                <a:solidFill>
                  <a:schemeClr val="bg1"/>
                </a:solidFill>
              </a:rPr>
              <a:t>Search) </a:t>
            </a:r>
            <a:r>
              <a:rPr lang="ar-SA" sz="3000" b="1" dirty="0">
                <a:solidFill>
                  <a:schemeClr val="bg1"/>
                </a:solidFill>
              </a:rPr>
              <a:t>علشان المستخدم يوصل لأي منتج بسرعة، وكمان خاصية الفلترة (</a:t>
            </a:r>
            <a:r>
              <a:rPr lang="en-US" sz="3000" b="1" dirty="0">
                <a:solidFill>
                  <a:schemeClr val="bg1"/>
                </a:solidFill>
              </a:rPr>
              <a:t>Filter) </a:t>
            </a:r>
            <a:r>
              <a:rPr lang="ar-SA" sz="3000" b="1" dirty="0">
                <a:solidFill>
                  <a:schemeClr val="bg1"/>
                </a:solidFill>
              </a:rPr>
              <a:t>لو عايز يحدد السعر أو النوع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استخدمنا تصميم شبكي (</a:t>
            </a:r>
            <a:r>
              <a:rPr lang="en-US" sz="3000" b="1" dirty="0">
                <a:solidFill>
                  <a:schemeClr val="bg1"/>
                </a:solidFill>
              </a:rPr>
              <a:t>Grid Layout) </a:t>
            </a:r>
            <a:r>
              <a:rPr lang="ar-SA" sz="3000" b="1" dirty="0">
                <a:solidFill>
                  <a:schemeClr val="bg1"/>
                </a:solidFill>
              </a:rPr>
              <a:t>منسّق علشان المنتجات تكون مرتبة وشكلها واضح، سواء على الموبايل أو اللابتوب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كمان ضفنا أنيميشن بسيطة عند تحميل المنتجات، بتخلي التصفح ممتع وسلس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الصفحة دي تعتبر العمود الفقري للموقع لأنها المكان اللي المستخدم بيقضي فيه أغلب وقته وهو بيدور ويشتري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2A0AB5-3A2C-4831-BDAB-A59C6BAF3EB2}"/>
              </a:ext>
            </a:extLst>
          </p:cNvPr>
          <p:cNvSpPr txBox="1"/>
          <p:nvPr/>
        </p:nvSpPr>
        <p:spPr>
          <a:xfrm>
            <a:off x="4503006" y="381662"/>
            <a:ext cx="71629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u="sng" dirty="0">
                <a:solidFill>
                  <a:schemeClr val="bg1"/>
                </a:solidFill>
              </a:rPr>
              <a:t>صفحة كل المنتجات (</a:t>
            </a:r>
            <a:r>
              <a:rPr lang="en-US" sz="3600" b="1" u="sng" dirty="0">
                <a:solidFill>
                  <a:schemeClr val="bg1"/>
                </a:solidFill>
              </a:rPr>
              <a:t>All Products Page)</a:t>
            </a:r>
          </a:p>
        </p:txBody>
      </p:sp>
    </p:spTree>
    <p:extLst>
      <p:ext uri="{BB962C8B-B14F-4D97-AF65-F5344CB8AC3E}">
        <p14:creationId xmlns:p14="http://schemas.microsoft.com/office/powerpoint/2010/main" val="4242084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89" t="6731" r="6889" b="6731"/>
          <a:stretch/>
        </p:blipFill>
        <p:spPr>
          <a:xfrm>
            <a:off x="0" y="-6191"/>
            <a:ext cx="12191996" cy="6981823"/>
          </a:xfrm>
          <a:prstGeom prst="rect">
            <a:avLst/>
          </a:prstGeom>
        </p:spPr>
      </p:pic>
      <p:sp useBgFill="1">
        <p:nvSpPr>
          <p:cNvPr id="11" name="!!mission_big">
            <a:extLst>
              <a:ext uri="{FF2B5EF4-FFF2-40B4-BE49-F238E27FC236}">
                <a16:creationId xmlns:a16="http://schemas.microsoft.com/office/drawing/2014/main" id="{6001EAF3-99DE-071D-640E-27373C22F4EC}"/>
              </a:ext>
            </a:extLst>
          </p:cNvPr>
          <p:cNvSpPr/>
          <p:nvPr/>
        </p:nvSpPr>
        <p:spPr>
          <a:xfrm>
            <a:off x="2398392" y="1778214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ar-SA" sz="2000" dirty="0">
                <a:latin typeface="Darker Grotesque" pitchFamily="2" charset="0"/>
              </a:rPr>
              <a:t> </a:t>
            </a:r>
            <a:endParaRPr lang="en-GB" sz="2000" dirty="0">
              <a:latin typeface="Darker Grotesque" pitchFamily="2" charset="0"/>
            </a:endParaRPr>
          </a:p>
        </p:txBody>
      </p:sp>
      <p:sp useBgFill="1">
        <p:nvSpPr>
          <p:cNvPr id="4" name="!!problem_big">
            <a:extLst>
              <a:ext uri="{FF2B5EF4-FFF2-40B4-BE49-F238E27FC236}">
                <a16:creationId xmlns:a16="http://schemas.microsoft.com/office/drawing/2014/main" id="{41CA0059-60D2-6D7F-A447-1DBBEF5018AE}"/>
              </a:ext>
            </a:extLst>
          </p:cNvPr>
          <p:cNvSpPr/>
          <p:nvPr/>
        </p:nvSpPr>
        <p:spPr>
          <a:xfrm>
            <a:off x="3267571" y="348472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" name="!!solution_big">
            <a:extLst>
              <a:ext uri="{FF2B5EF4-FFF2-40B4-BE49-F238E27FC236}">
                <a16:creationId xmlns:a16="http://schemas.microsoft.com/office/drawing/2014/main" id="{01485104-FBE1-6D05-D1EB-C70693B8A671}"/>
              </a:ext>
            </a:extLst>
          </p:cNvPr>
          <p:cNvSpPr/>
          <p:nvPr/>
        </p:nvSpPr>
        <p:spPr>
          <a:xfrm>
            <a:off x="4517758" y="1679794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4" name="Section Zoom 53"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35919167"/>
                  </p:ext>
                </p:extLst>
              </p:nvPr>
            </p:nvGraphicFramePr>
            <p:xfrm>
              <a:off x="2598324" y="2140802"/>
              <a:ext cx="1205890" cy="678314"/>
            </p:xfrm>
            <a:graphic>
              <a:graphicData uri="http://schemas.microsoft.com/office/powerpoint/2016/sectionzoom">
                <psez:sectionZm>
                  <psez:sectionZmObj sectionId="{88495344-40FB-4841-99CC-E364E4B3FA60}">
                    <psez:zmPr id="{2045F387-F9C1-4234-AB40-2F706D3FBEEE}" transitionDur="1000" showBg="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0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4" name="Section Zoom 53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598324" y="2140802"/>
                <a:ext cx="1205890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sp useBgFill="1">
        <p:nvSpPr>
          <p:cNvPr id="21" name="!!potential_big">
            <a:extLst>
              <a:ext uri="{FF2B5EF4-FFF2-40B4-BE49-F238E27FC236}">
                <a16:creationId xmlns:a16="http://schemas.microsoft.com/office/drawing/2014/main" id="{451ADC09-786B-7817-12A7-45589629C4FD}"/>
              </a:ext>
            </a:extLst>
          </p:cNvPr>
          <p:cNvSpPr/>
          <p:nvPr/>
        </p:nvSpPr>
        <p:spPr>
          <a:xfrm>
            <a:off x="5372816" y="3337248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2" name="!!team_big">
            <a:extLst>
              <a:ext uri="{FF2B5EF4-FFF2-40B4-BE49-F238E27FC236}">
                <a16:creationId xmlns:a16="http://schemas.microsoft.com/office/drawing/2014/main" id="{B302DE39-6CAA-0299-5B01-34FB4ACE7015}"/>
              </a:ext>
            </a:extLst>
          </p:cNvPr>
          <p:cNvSpPr/>
          <p:nvPr/>
        </p:nvSpPr>
        <p:spPr>
          <a:xfrm>
            <a:off x="8923585" y="1565066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76" name="Slide Title">
            <a:extLst>
              <a:ext uri="{FF2B5EF4-FFF2-40B4-BE49-F238E27FC236}">
                <a16:creationId xmlns:a16="http://schemas.microsoft.com/office/drawing/2014/main" id="{F1C16585-D5BD-D317-3939-4561F6529330}"/>
              </a:ext>
            </a:extLst>
          </p:cNvPr>
          <p:cNvSpPr txBox="1"/>
          <p:nvPr/>
        </p:nvSpPr>
        <p:spPr>
          <a:xfrm>
            <a:off x="5408633" y="290756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7" name="Section Zoom 6"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62867866"/>
                  </p:ext>
                </p:extLst>
              </p:nvPr>
            </p:nvGraphicFramePr>
            <p:xfrm>
              <a:off x="3421521" y="382628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89DC3976-4114-4C72-A3F7-CD5F9D4A7E2B}">
                    <psez:zmPr id="{589C5D53-314B-45D2-A22D-40EF9D54BAAF}" transitionDur="1000" showBg="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7" name="Section Zoom 6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421521" y="3826284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0" name="Section Zoom 9"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45595615"/>
                  </p:ext>
                </p:extLst>
              </p:nvPr>
            </p:nvGraphicFramePr>
            <p:xfrm>
              <a:off x="4722282" y="2112721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0161835-6204-4266-8552-F3667AA67871}">
                    <psez:zmPr id="{8063EAC8-A51B-4716-95F3-8D194DDEC352}" transitionDur="1000" showBg="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0" name="Section Zoom 9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722282" y="2112721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3" name="Section Zoom 12"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911506925"/>
                  </p:ext>
                </p:extLst>
              </p:nvPr>
            </p:nvGraphicFramePr>
            <p:xfrm>
              <a:off x="5495066" y="3763379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78F869A-DB52-4C0F-9771-93BD0B0C77E6}">
                    <psez:zmPr id="{25F3C81B-8628-4BDC-A625-35EC4F6BCABF}" transitionDur="1000" showBg="0">
                      <p166:blipFill xmlns:p166="http://schemas.microsoft.com/office/powerpoint/2016/6/main">
                        <a:blip r:embed="rId1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3" name="Section Zoom 12">
                <a:hlinkClick r:id="rId16" action="ppaction://hlinksldjump"/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5495066" y="3763379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8" name="Section Zoom 17"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64112109"/>
                  </p:ext>
                </p:extLst>
              </p:nvPr>
            </p:nvGraphicFramePr>
            <p:xfrm>
              <a:off x="9014575" y="1948905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98810976-D7DB-4275-9710-9A2889E2A734}">
                    <psez:zmPr id="{F08AC0D9-533E-4A9B-AE6D-5C782F66EA32}" transitionDur="1000" showBg="0">
                      <p166:blipFill xmlns:p166="http://schemas.microsoft.com/office/powerpoint/2016/6/main">
                        <a:blip r:embed="rId1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8" name="Section Zoom 17">
                <a:hlinkClick r:id="rId19" action="ppaction://hlinksldjump"/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9014575" y="1948905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p:sp useBgFill="1">
        <p:nvSpPr>
          <p:cNvPr id="2" name="Rectangle: Rounded Corners 1">
            <a:extLst>
              <a:ext uri="{FF2B5EF4-FFF2-40B4-BE49-F238E27FC236}">
                <a16:creationId xmlns:a16="http://schemas.microsoft.com/office/drawing/2014/main" id="{36C4B878-37C6-7B4E-B091-2E034E3D2D72}"/>
              </a:ext>
            </a:extLst>
          </p:cNvPr>
          <p:cNvSpPr/>
          <p:nvPr/>
        </p:nvSpPr>
        <p:spPr>
          <a:xfrm>
            <a:off x="10614581" y="174478"/>
            <a:ext cx="1305957" cy="486548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24 May 2025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12FEECD-8EA7-36BB-E07D-03B0794F5151}"/>
              </a:ext>
            </a:extLst>
          </p:cNvPr>
          <p:cNvSpPr/>
          <p:nvPr/>
        </p:nvSpPr>
        <p:spPr>
          <a:xfrm>
            <a:off x="10000314" y="6373557"/>
            <a:ext cx="2022394" cy="486548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Project </a:t>
            </a:r>
            <a:r>
              <a:rPr lang="en-US" sz="1200" spc="30" dirty="0" err="1">
                <a:solidFill>
                  <a:prstClr val="white"/>
                </a:solidFill>
                <a:latin typeface="Darker Grotesque" pitchFamily="2" charset="0"/>
              </a:rPr>
              <a:t>Presintation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32" name="!!potential_big">
            <a:extLst>
              <a:ext uri="{FF2B5EF4-FFF2-40B4-BE49-F238E27FC236}">
                <a16:creationId xmlns:a16="http://schemas.microsoft.com/office/drawing/2014/main" id="{69C9DF51-2992-4574-9BD6-0A48E000E71A}"/>
              </a:ext>
            </a:extLst>
          </p:cNvPr>
          <p:cNvSpPr/>
          <p:nvPr/>
        </p:nvSpPr>
        <p:spPr>
          <a:xfrm>
            <a:off x="7501185" y="3276466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43B16B27-4291-4F9E-AF37-431D8CD5558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354285" y="3854466"/>
            <a:ext cx="1729436" cy="613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0"/>
              </a:spcBef>
              <a:defRPr/>
            </a:pPr>
            <a:r>
              <a:rPr lang="en-US" sz="1400" kern="0" dirty="0">
                <a:solidFill>
                  <a:prstClr val="white"/>
                </a:solidFill>
                <a:latin typeface="Darker Grotesque" pitchFamily="2" charset="0"/>
              </a:rPr>
              <a:t>Mohamed </a:t>
            </a:r>
            <a:br>
              <a:rPr lang="en-US" sz="1400" kern="0" dirty="0">
                <a:solidFill>
                  <a:prstClr val="white"/>
                </a:solidFill>
                <a:latin typeface="Darker Grotesque" pitchFamily="2" charset="0"/>
              </a:rPr>
            </a:br>
            <a:r>
              <a:rPr lang="en-US" sz="1400" kern="0" dirty="0">
                <a:solidFill>
                  <a:prstClr val="white"/>
                </a:solidFill>
                <a:latin typeface="Darker Grotesque" pitchFamily="2" charset="0"/>
              </a:rPr>
              <a:t>Osama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</a:b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sp useBgFill="1">
        <p:nvSpPr>
          <p:cNvPr id="38" name="!!potential_big">
            <a:extLst>
              <a:ext uri="{FF2B5EF4-FFF2-40B4-BE49-F238E27FC236}">
                <a16:creationId xmlns:a16="http://schemas.microsoft.com/office/drawing/2014/main" id="{66124867-2112-40C2-8AFD-6EDC7AD9EF4C}"/>
              </a:ext>
            </a:extLst>
          </p:cNvPr>
          <p:cNvSpPr/>
          <p:nvPr/>
        </p:nvSpPr>
        <p:spPr>
          <a:xfrm>
            <a:off x="6712236" y="1492623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8" name="TextBox 7">
            <a:hlinkClick r:id="rId21" action="ppaction://hlinksldjump"/>
            <a:extLst>
              <a:ext uri="{FF2B5EF4-FFF2-40B4-BE49-F238E27FC236}">
                <a16:creationId xmlns:a16="http://schemas.microsoft.com/office/drawing/2014/main" id="{66732726-2CAE-46A1-A962-5B47132005F9}"/>
              </a:ext>
            </a:extLst>
          </p:cNvPr>
          <p:cNvSpPr txBox="1"/>
          <p:nvPr/>
        </p:nvSpPr>
        <p:spPr>
          <a:xfrm>
            <a:off x="7006124" y="1897875"/>
            <a:ext cx="12962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0" dirty="0">
                <a:solidFill>
                  <a:prstClr val="white"/>
                </a:solidFill>
                <a:latin typeface="Darker Grotesque" pitchFamily="2" charset="0"/>
              </a:rPr>
              <a:t>Hamza </a:t>
            </a:r>
            <a:r>
              <a:rPr lang="en-US" sz="1800" kern="0" dirty="0" err="1">
                <a:solidFill>
                  <a:prstClr val="white"/>
                </a:solidFill>
                <a:latin typeface="Darker Grotesque" pitchFamily="2" charset="0"/>
              </a:rPr>
              <a:t>Mosaad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  <a:p>
            <a:endParaRPr lang="en-US" dirty="0"/>
          </a:p>
        </p:txBody>
      </p:sp>
      <p:grpSp>
        <p:nvGrpSpPr>
          <p:cNvPr id="62" name="!!team">
            <a:extLst>
              <a:ext uri="{FF2B5EF4-FFF2-40B4-BE49-F238E27FC236}">
                <a16:creationId xmlns:a16="http://schemas.microsoft.com/office/drawing/2014/main" id="{EA75B395-244C-42CA-BB62-9F25C3C74F3A}"/>
              </a:ext>
            </a:extLst>
          </p:cNvPr>
          <p:cNvGrpSpPr/>
          <p:nvPr/>
        </p:nvGrpSpPr>
        <p:grpSpPr>
          <a:xfrm>
            <a:off x="3792720" y="4630302"/>
            <a:ext cx="507586" cy="507586"/>
            <a:chOff x="9748751" y="1868829"/>
            <a:chExt cx="507586" cy="507586"/>
          </a:xfrm>
        </p:grpSpPr>
        <p:sp useBgFill="1">
          <p:nvSpPr>
            <p:cNvPr id="63" name="Oval 62">
              <a:extLst>
                <a:ext uri="{FF2B5EF4-FFF2-40B4-BE49-F238E27FC236}">
                  <a16:creationId xmlns:a16="http://schemas.microsoft.com/office/drawing/2014/main" id="{2817AF26-6126-41E2-9B79-F8ABC5DDFFD9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91D704F0-D27D-4563-A41C-ED3D44819F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65" name="!!team">
            <a:extLst>
              <a:ext uri="{FF2B5EF4-FFF2-40B4-BE49-F238E27FC236}">
                <a16:creationId xmlns:a16="http://schemas.microsoft.com/office/drawing/2014/main" id="{355BCCE5-1F07-472A-9A2B-B003E8BCCCB4}"/>
              </a:ext>
            </a:extLst>
          </p:cNvPr>
          <p:cNvGrpSpPr/>
          <p:nvPr/>
        </p:nvGrpSpPr>
        <p:grpSpPr>
          <a:xfrm>
            <a:off x="5901136" y="4458878"/>
            <a:ext cx="507586" cy="507586"/>
            <a:chOff x="9748751" y="1868829"/>
            <a:chExt cx="507586" cy="507586"/>
          </a:xfrm>
        </p:grpSpPr>
        <p:sp useBgFill="1">
          <p:nvSpPr>
            <p:cNvPr id="66" name="Oval 65">
              <a:extLst>
                <a:ext uri="{FF2B5EF4-FFF2-40B4-BE49-F238E27FC236}">
                  <a16:creationId xmlns:a16="http://schemas.microsoft.com/office/drawing/2014/main" id="{9B75797C-7747-49C4-B1AF-AC680A94F356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4530875C-438B-43B4-B144-F12A5EA0C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68" name="!!team">
            <a:extLst>
              <a:ext uri="{FF2B5EF4-FFF2-40B4-BE49-F238E27FC236}">
                <a16:creationId xmlns:a16="http://schemas.microsoft.com/office/drawing/2014/main" id="{1FD5C48F-8F9A-4982-9844-62C977056A9D}"/>
              </a:ext>
            </a:extLst>
          </p:cNvPr>
          <p:cNvGrpSpPr/>
          <p:nvPr/>
        </p:nvGrpSpPr>
        <p:grpSpPr>
          <a:xfrm>
            <a:off x="8073825" y="4406973"/>
            <a:ext cx="507586" cy="507586"/>
            <a:chOff x="9748751" y="1868829"/>
            <a:chExt cx="507586" cy="507586"/>
          </a:xfrm>
        </p:grpSpPr>
        <p:sp useBgFill="1">
          <p:nvSpPr>
            <p:cNvPr id="69" name="Oval 68">
              <a:extLst>
                <a:ext uri="{FF2B5EF4-FFF2-40B4-BE49-F238E27FC236}">
                  <a16:creationId xmlns:a16="http://schemas.microsoft.com/office/drawing/2014/main" id="{E09A4553-953D-4D80-8179-061B1E04FE2B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EE3EB3FE-45FB-4467-9250-B947B55A5E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71" name="!!team">
            <a:extLst>
              <a:ext uri="{FF2B5EF4-FFF2-40B4-BE49-F238E27FC236}">
                <a16:creationId xmlns:a16="http://schemas.microsoft.com/office/drawing/2014/main" id="{F1B0BBD6-0241-47E5-81A0-7C75917CE92A}"/>
              </a:ext>
            </a:extLst>
          </p:cNvPr>
          <p:cNvGrpSpPr/>
          <p:nvPr/>
        </p:nvGrpSpPr>
        <p:grpSpPr>
          <a:xfrm>
            <a:off x="7169643" y="1222620"/>
            <a:ext cx="507586" cy="507586"/>
            <a:chOff x="9748751" y="1868829"/>
            <a:chExt cx="507586" cy="507586"/>
          </a:xfrm>
        </p:grpSpPr>
        <p:sp useBgFill="1">
          <p:nvSpPr>
            <p:cNvPr id="72" name="Oval 71">
              <a:extLst>
                <a:ext uri="{FF2B5EF4-FFF2-40B4-BE49-F238E27FC236}">
                  <a16:creationId xmlns:a16="http://schemas.microsoft.com/office/drawing/2014/main" id="{27B5FB4D-F2A8-4903-832A-AD5E09EF6858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2C8E016E-E694-4F25-8A6F-9A2AAFABA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74" name="!!team">
            <a:extLst>
              <a:ext uri="{FF2B5EF4-FFF2-40B4-BE49-F238E27FC236}">
                <a16:creationId xmlns:a16="http://schemas.microsoft.com/office/drawing/2014/main" id="{7A86BDDF-1D3F-4566-B06B-2EC5A0935DEE}"/>
              </a:ext>
            </a:extLst>
          </p:cNvPr>
          <p:cNvGrpSpPr/>
          <p:nvPr/>
        </p:nvGrpSpPr>
        <p:grpSpPr>
          <a:xfrm>
            <a:off x="4907183" y="1405649"/>
            <a:ext cx="507586" cy="507586"/>
            <a:chOff x="9748751" y="1868829"/>
            <a:chExt cx="507586" cy="507586"/>
          </a:xfrm>
        </p:grpSpPr>
        <p:sp useBgFill="1">
          <p:nvSpPr>
            <p:cNvPr id="75" name="Oval 74">
              <a:extLst>
                <a:ext uri="{FF2B5EF4-FFF2-40B4-BE49-F238E27FC236}">
                  <a16:creationId xmlns:a16="http://schemas.microsoft.com/office/drawing/2014/main" id="{4A5A0542-90E1-4B25-809B-3E81A40B3B61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0" name="Graphic 79">
              <a:extLst>
                <a:ext uri="{FF2B5EF4-FFF2-40B4-BE49-F238E27FC236}">
                  <a16:creationId xmlns:a16="http://schemas.microsoft.com/office/drawing/2014/main" id="{15B9905E-72B4-4A78-95F6-47BDB019B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82" name="!!potential">
            <a:extLst>
              <a:ext uri="{FF2B5EF4-FFF2-40B4-BE49-F238E27FC236}">
                <a16:creationId xmlns:a16="http://schemas.microsoft.com/office/drawing/2014/main" id="{215E693B-136B-4888-AFD3-8749808E7C3C}"/>
              </a:ext>
            </a:extLst>
          </p:cNvPr>
          <p:cNvGrpSpPr/>
          <p:nvPr/>
        </p:nvGrpSpPr>
        <p:grpSpPr>
          <a:xfrm>
            <a:off x="9593676" y="2701322"/>
            <a:ext cx="507586" cy="507586"/>
            <a:chOff x="4797684" y="4481585"/>
            <a:chExt cx="507586" cy="507586"/>
          </a:xfrm>
        </p:grpSpPr>
        <p:sp useBgFill="1">
          <p:nvSpPr>
            <p:cNvPr id="89" name="Oval 88">
              <a:extLst>
                <a:ext uri="{FF2B5EF4-FFF2-40B4-BE49-F238E27FC236}">
                  <a16:creationId xmlns:a16="http://schemas.microsoft.com/office/drawing/2014/main" id="{739DFFA9-0F31-439A-9D3A-9ECD040BA59C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0" name="Graphic 89">
              <a:extLst>
                <a:ext uri="{FF2B5EF4-FFF2-40B4-BE49-F238E27FC236}">
                  <a16:creationId xmlns:a16="http://schemas.microsoft.com/office/drawing/2014/main" id="{55FF02BA-596D-4DEF-B338-F69F7260F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91" name="!!mission">
            <a:extLst>
              <a:ext uri="{FF2B5EF4-FFF2-40B4-BE49-F238E27FC236}">
                <a16:creationId xmlns:a16="http://schemas.microsoft.com/office/drawing/2014/main" id="{7F2CFA4C-5AAC-4220-A36C-47BA1C1057D2}"/>
              </a:ext>
            </a:extLst>
          </p:cNvPr>
          <p:cNvGrpSpPr/>
          <p:nvPr/>
        </p:nvGrpSpPr>
        <p:grpSpPr>
          <a:xfrm>
            <a:off x="2741280" y="1488944"/>
            <a:ext cx="507586" cy="507586"/>
            <a:chOff x="1700837" y="1711757"/>
            <a:chExt cx="507586" cy="507586"/>
          </a:xfrm>
        </p:grpSpPr>
        <p:sp useBgFill="1">
          <p:nvSpPr>
            <p:cNvPr id="92" name="Oval 91">
              <a:extLst>
                <a:ext uri="{FF2B5EF4-FFF2-40B4-BE49-F238E27FC236}">
                  <a16:creationId xmlns:a16="http://schemas.microsoft.com/office/drawing/2014/main" id="{FAC446CC-ADAF-42E2-B8C4-0F0A52569024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3" name="Graphic 92">
              <a:extLst>
                <a:ext uri="{FF2B5EF4-FFF2-40B4-BE49-F238E27FC236}">
                  <a16:creationId xmlns:a16="http://schemas.microsoft.com/office/drawing/2014/main" id="{ECA9E7D0-B718-4682-A7AB-EE0EBB0357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sp useBgFill="1">
        <p:nvSpPr>
          <p:cNvPr id="42" name="Rectangle: Rounded Corners 41">
            <a:extLst>
              <a:ext uri="{FF2B5EF4-FFF2-40B4-BE49-F238E27FC236}">
                <a16:creationId xmlns:a16="http://schemas.microsoft.com/office/drawing/2014/main" id="{BEB2F344-E98F-4532-9C17-D51D03A78B21}"/>
              </a:ext>
            </a:extLst>
          </p:cNvPr>
          <p:cNvSpPr/>
          <p:nvPr/>
        </p:nvSpPr>
        <p:spPr>
          <a:xfrm>
            <a:off x="234232" y="6286710"/>
            <a:ext cx="2501605" cy="486548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prstClr val="white"/>
                </a:solidFill>
                <a:latin typeface="Darker Grotesque" pitchFamily="2" charset="0"/>
              </a:rPr>
              <a:t>Presented by: Technological Circuit Team</a:t>
            </a:r>
            <a:endParaRPr lang="en-GB" sz="1600" dirty="0">
              <a:solidFill>
                <a:prstClr val="white"/>
              </a:solidFill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787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" dur="1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8" dur="1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25" dur="1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32" dur="1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39" dur="1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46" dur="1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53" dur="1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4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8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58" dur="125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42" grpId="1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8A7F7D-A5DB-404F-A260-784F8F36E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54FCD1-0F4B-4282-BF98-ECAADD5A577F}"/>
              </a:ext>
            </a:extLst>
          </p:cNvPr>
          <p:cNvSpPr txBox="1"/>
          <p:nvPr/>
        </p:nvSpPr>
        <p:spPr>
          <a:xfrm>
            <a:off x="1392706" y="1625600"/>
            <a:ext cx="8990814" cy="433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0" kern="0" dirty="0">
                <a:solidFill>
                  <a:prstClr val="white"/>
                </a:solidFill>
                <a:latin typeface="Darker Grotesque" pitchFamily="2" charset="0"/>
              </a:rPr>
              <a:t>Mohamed </a:t>
            </a:r>
            <a:r>
              <a:rPr lang="en-US" sz="17000" kern="0" dirty="0">
                <a:solidFill>
                  <a:prstClr val="white"/>
                </a:solidFill>
                <a:latin typeface="Darker Grotesque" pitchFamily="2" charset="0"/>
              </a:rPr>
              <a:t>Osama</a:t>
            </a:r>
            <a:endParaRPr kumimoji="0" lang="en-US" sz="17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2316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F07B175-5129-45F2-9F73-0C58537EF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C43180-B27B-48E4-BA3A-0BDEC58D233F}"/>
              </a:ext>
            </a:extLst>
          </p:cNvPr>
          <p:cNvSpPr txBox="1"/>
          <p:nvPr/>
        </p:nvSpPr>
        <p:spPr>
          <a:xfrm>
            <a:off x="1229810" y="1522810"/>
            <a:ext cx="10509813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في المشروع استخدمنا </a:t>
            </a:r>
            <a:r>
              <a:rPr lang="en-US" sz="3000" b="1" dirty="0">
                <a:solidFill>
                  <a:schemeClr val="bg1"/>
                </a:solidFill>
              </a:rPr>
              <a:t>API (</a:t>
            </a:r>
            <a:r>
              <a:rPr lang="ar-SA" sz="3000" b="1" dirty="0">
                <a:solidFill>
                  <a:schemeClr val="bg1"/>
                </a:solidFill>
              </a:rPr>
              <a:t>سواء من مصدر خارجي أو بيانات وهمية </a:t>
            </a:r>
            <a:r>
              <a:rPr lang="en-US" sz="3000" b="1" dirty="0">
                <a:solidFill>
                  <a:schemeClr val="bg1"/>
                </a:solidFill>
              </a:rPr>
              <a:t>Mock Data) </a:t>
            </a:r>
            <a:r>
              <a:rPr lang="ar-SA" sz="3000" b="1" dirty="0">
                <a:solidFill>
                  <a:schemeClr val="bg1"/>
                </a:solidFill>
              </a:rPr>
              <a:t>علشان نعرض المنتجات داخل الموقع بشكل ديناميكي بدل ما تكون ثابتة في الكود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اعتمدنا على </a:t>
            </a:r>
            <a:r>
              <a:rPr lang="en-US" sz="3000" b="1" dirty="0" err="1">
                <a:solidFill>
                  <a:schemeClr val="bg1"/>
                </a:solidFill>
              </a:rPr>
              <a:t>Axios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  <a:r>
              <a:rPr lang="ar-SA" sz="3000" b="1" dirty="0">
                <a:solidFill>
                  <a:schemeClr val="bg1"/>
                </a:solidFill>
              </a:rPr>
              <a:t>أو </a:t>
            </a:r>
            <a:r>
              <a:rPr lang="en-US" sz="3000" b="1" dirty="0">
                <a:solidFill>
                  <a:schemeClr val="bg1"/>
                </a:solidFill>
              </a:rPr>
              <a:t>Fetch </a:t>
            </a:r>
            <a:r>
              <a:rPr lang="ar-SA" sz="3000" b="1" dirty="0">
                <a:solidFill>
                  <a:schemeClr val="bg1"/>
                </a:solidFill>
              </a:rPr>
              <a:t>لجلب البيانات من الـ </a:t>
            </a:r>
            <a:r>
              <a:rPr lang="en-US" sz="3000" b="1" dirty="0">
                <a:solidFill>
                  <a:schemeClr val="bg1"/>
                </a:solidFill>
              </a:rPr>
              <a:t>API، </a:t>
            </a:r>
            <a:r>
              <a:rPr lang="ar-SA" sz="3000" b="1" dirty="0">
                <a:solidFill>
                  <a:schemeClr val="bg1"/>
                </a:solidFill>
              </a:rPr>
              <a:t>وخلينا البيانات تظهر مباشرة في صفحات المنتجات والصفحة الرئيسية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جلب البيانات بالطريقة دي خلّى الموقع واقعي أكتر، وفتح الباب لإضافة </a:t>
            </a:r>
            <a:r>
              <a:rPr lang="en-US" sz="3000" b="1" dirty="0">
                <a:solidFill>
                  <a:schemeClr val="bg1"/>
                </a:solidFill>
              </a:rPr>
              <a:t>Backend </a:t>
            </a:r>
            <a:r>
              <a:rPr lang="ar-SA" sz="3000" b="1" dirty="0">
                <a:solidFill>
                  <a:schemeClr val="bg1"/>
                </a:solidFill>
              </a:rPr>
              <a:t>حقيقي بسهولة في المستقبل.</a:t>
            </a:r>
          </a:p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كمان ضفنا معالجة لحالات التحميل (</a:t>
            </a:r>
            <a:r>
              <a:rPr lang="en-US" sz="3000" b="1" dirty="0">
                <a:solidFill>
                  <a:schemeClr val="bg1"/>
                </a:solidFill>
              </a:rPr>
              <a:t>Loading) </a:t>
            </a:r>
            <a:r>
              <a:rPr lang="ar-SA" sz="3000" b="1" dirty="0">
                <a:solidFill>
                  <a:schemeClr val="bg1"/>
                </a:solidFill>
              </a:rPr>
              <a:t>والخطأ (</a:t>
            </a:r>
            <a:r>
              <a:rPr lang="en-US" sz="3000" b="1" dirty="0">
                <a:solidFill>
                  <a:schemeClr val="bg1"/>
                </a:solidFill>
              </a:rPr>
              <a:t>Error) </a:t>
            </a:r>
            <a:r>
              <a:rPr lang="ar-SA" sz="3000" b="1" dirty="0">
                <a:solidFill>
                  <a:schemeClr val="bg1"/>
                </a:solidFill>
              </a:rPr>
              <a:t>علشان نحافظ على تجربة مستخدم مريحة ومنظمة.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56183986-E791-4BE4-ADE1-9ECA4863D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8600" y="228702"/>
            <a:ext cx="7701023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ar-SA" sz="4000" b="1" u="sng" dirty="0">
                <a:solidFill>
                  <a:schemeClr val="bg1"/>
                </a:solidFill>
              </a:rPr>
              <a:t>1-جلب البيانات </a:t>
            </a:r>
            <a:r>
              <a:rPr lang="en-US" sz="4000" b="1" u="sng" dirty="0">
                <a:solidFill>
                  <a:schemeClr val="bg1"/>
                </a:solidFill>
              </a:rPr>
              <a:t>API Integration)</a:t>
            </a:r>
            <a:r>
              <a:rPr lang="ar-SA" sz="4000" b="1" u="sng" dirty="0">
                <a:solidFill>
                  <a:schemeClr val="bg1"/>
                </a:solidFill>
              </a:rPr>
              <a:t>)</a:t>
            </a:r>
            <a:endParaRPr kumimoji="0" lang="en-US" altLang="en-US" sz="4000" b="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1699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01313F-837F-4B62-9096-A9F350E09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388F9C-E454-476E-BA0F-5B4AE60E0082}"/>
              </a:ext>
            </a:extLst>
          </p:cNvPr>
          <p:cNvSpPr txBox="1"/>
          <p:nvPr/>
        </p:nvSpPr>
        <p:spPr>
          <a:xfrm>
            <a:off x="4887409" y="136525"/>
            <a:ext cx="702293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4000" b="1" u="sng" dirty="0">
                <a:solidFill>
                  <a:schemeClr val="bg1"/>
                </a:solidFill>
              </a:rPr>
              <a:t>2-صفحة العربة (</a:t>
            </a:r>
            <a:r>
              <a:rPr lang="en-US" sz="4000" b="1" u="sng" dirty="0">
                <a:solidFill>
                  <a:schemeClr val="bg1"/>
                </a:solidFill>
              </a:rPr>
              <a:t>Cart Page</a:t>
            </a:r>
            <a:r>
              <a:rPr lang="ar-SA" sz="4000" b="1" u="sng" dirty="0">
                <a:solidFill>
                  <a:schemeClr val="bg1"/>
                </a:solidFill>
              </a:rPr>
              <a:t>)</a:t>
            </a:r>
            <a:endParaRPr lang="en-US" sz="4000" b="1" u="sng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71D9F0-DB88-4151-BC86-B9FB1F827395}"/>
              </a:ext>
            </a:extLst>
          </p:cNvPr>
          <p:cNvSpPr txBox="1"/>
          <p:nvPr/>
        </p:nvSpPr>
        <p:spPr>
          <a:xfrm>
            <a:off x="520860" y="1339592"/>
            <a:ext cx="11389488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000" b="1" dirty="0">
                <a:solidFill>
                  <a:schemeClr val="bg1"/>
                </a:solidFill>
              </a:rPr>
              <a:t>الصفحة دي بتعرض كل المنتجات اللي المستخدم أضافها أثناء التصفح.</a:t>
            </a:r>
            <a:br>
              <a:rPr lang="ar-SA" sz="3000" b="1" dirty="0">
                <a:solidFill>
                  <a:schemeClr val="bg1"/>
                </a:solidFill>
              </a:rPr>
            </a:br>
            <a:r>
              <a:rPr lang="ar-SA" sz="3000" b="1" dirty="0">
                <a:solidFill>
                  <a:schemeClr val="bg1"/>
                </a:solidFill>
              </a:rPr>
              <a:t>بيقدر يعدّل الكمية، يحذف منتج، أو يكمل لعملية الشراء من خلال زر "</a:t>
            </a:r>
            <a:r>
              <a:rPr lang="en-US" sz="3000" b="1" dirty="0">
                <a:solidFill>
                  <a:schemeClr val="bg1"/>
                </a:solidFill>
              </a:rPr>
              <a:t>Checkout".</a:t>
            </a:r>
            <a:br>
              <a:rPr lang="en-US" sz="3000" b="1" dirty="0">
                <a:solidFill>
                  <a:schemeClr val="bg1"/>
                </a:solidFill>
              </a:rPr>
            </a:br>
            <a:r>
              <a:rPr lang="ar-SA" sz="3000" b="1" dirty="0">
                <a:solidFill>
                  <a:schemeClr val="bg1"/>
                </a:solidFill>
              </a:rPr>
              <a:t>أظهرنا المجموع الكلي للطلب، والتحديث بيتم بشكل مباشر مع كل تعديل.</a:t>
            </a:r>
            <a:br>
              <a:rPr lang="ar-SA" sz="3000" b="1" dirty="0">
                <a:solidFill>
                  <a:schemeClr val="bg1"/>
                </a:solidFill>
              </a:rPr>
            </a:br>
            <a:r>
              <a:rPr lang="ar-SA" sz="3000" b="1" dirty="0">
                <a:solidFill>
                  <a:schemeClr val="bg1"/>
                </a:solidFill>
              </a:rPr>
              <a:t>صممنا الصفحة بشكل متجاوب علشان تشتغل بشكل ممتاز على الموبايل والكمبيوتر.</a:t>
            </a:r>
            <a:br>
              <a:rPr lang="ar-SA" sz="3000" b="1" dirty="0">
                <a:solidFill>
                  <a:schemeClr val="bg1"/>
                </a:solidFill>
              </a:rPr>
            </a:br>
            <a:r>
              <a:rPr lang="ar-SA" sz="3000" b="1" dirty="0">
                <a:solidFill>
                  <a:schemeClr val="bg1"/>
                </a:solidFill>
              </a:rPr>
              <a:t>ضفنا أنيميشن خفيفة لتفاعل الأزرار وعرض المنتجات بطريقة سلسة.</a:t>
            </a:r>
            <a:br>
              <a:rPr lang="ar-SA" sz="3000" b="1" dirty="0">
                <a:solidFill>
                  <a:schemeClr val="bg1"/>
                </a:solidFill>
              </a:rPr>
            </a:br>
            <a:r>
              <a:rPr lang="ar-SA" sz="3000" b="1" dirty="0">
                <a:solidFill>
                  <a:schemeClr val="bg1"/>
                </a:solidFill>
              </a:rPr>
              <a:t>في حالة إن العربة فاضية، بنعرض رسالة تشجّع المستخدم يرجع للتسوّق.</a:t>
            </a:r>
            <a:br>
              <a:rPr lang="ar-SA" sz="3000" b="1" dirty="0">
                <a:solidFill>
                  <a:schemeClr val="bg1"/>
                </a:solidFill>
              </a:rPr>
            </a:br>
            <a:r>
              <a:rPr lang="ar-SA" sz="3000" b="1" dirty="0">
                <a:solidFill>
                  <a:schemeClr val="bg1"/>
                </a:solidFill>
              </a:rPr>
              <a:t>استخدمنا </a:t>
            </a:r>
            <a:r>
              <a:rPr lang="en-US" sz="3000" b="1" dirty="0" err="1">
                <a:solidFill>
                  <a:schemeClr val="bg1"/>
                </a:solidFill>
              </a:rPr>
              <a:t>localStorage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  <a:r>
              <a:rPr lang="ar-SA" sz="3000" b="1" dirty="0">
                <a:solidFill>
                  <a:schemeClr val="bg1"/>
                </a:solidFill>
              </a:rPr>
              <a:t>لحفظ المنتجات مؤقتًا حتى لو الصفحة اتقفلت.</a:t>
            </a:r>
            <a:br>
              <a:rPr lang="ar-SA" sz="3000" b="1" dirty="0">
                <a:solidFill>
                  <a:schemeClr val="bg1"/>
                </a:solidFill>
              </a:rPr>
            </a:br>
            <a:r>
              <a:rPr lang="ar-SA" sz="3000" b="1" dirty="0">
                <a:solidFill>
                  <a:schemeClr val="bg1"/>
                </a:solidFill>
              </a:rPr>
              <a:t>ربطنا العربة بتسجيل الدخول علشان المحتوى يفضل محفوظ بين الجلسات.</a:t>
            </a:r>
            <a:br>
              <a:rPr lang="ar-SA" sz="3000" b="1" dirty="0">
                <a:solidFill>
                  <a:schemeClr val="bg1"/>
                </a:solidFill>
              </a:rPr>
            </a:br>
            <a:r>
              <a:rPr lang="ar-SA" sz="3000" b="1" dirty="0">
                <a:solidFill>
                  <a:schemeClr val="bg1"/>
                </a:solidFill>
              </a:rPr>
              <a:t>راعينا إن الأداء يفضل سريع حتى لو عدد المنتجات زاد.</a:t>
            </a:r>
            <a:br>
              <a:rPr lang="ar-SA" sz="3000" b="1" dirty="0">
                <a:solidFill>
                  <a:schemeClr val="bg1"/>
                </a:solidFill>
              </a:rPr>
            </a:br>
            <a:r>
              <a:rPr lang="ar-SA" sz="3000" b="1" dirty="0">
                <a:solidFill>
                  <a:schemeClr val="bg1"/>
                </a:solidFill>
              </a:rPr>
              <a:t>الصفحة دي بتسهّل على المستخدم مراجعة طلباته قبل ما يكمّل عملية الشراء.</a:t>
            </a:r>
          </a:p>
        </p:txBody>
      </p:sp>
    </p:spTree>
    <p:extLst>
      <p:ext uri="{BB962C8B-B14F-4D97-AF65-F5344CB8AC3E}">
        <p14:creationId xmlns:p14="http://schemas.microsoft.com/office/powerpoint/2010/main" val="35343097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4D3A96C8-CFA1-4573-8D25-46E0E64E45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214" y="1098555"/>
            <a:ext cx="11596405" cy="526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في المشروع استخدمنا مكتبة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React Router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علشان ننظّم التنقل بين صفحات الموقع</a:t>
            </a:r>
            <a:r>
              <a:rPr kumimoji="0" lang="ar-EG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أنشأنا مجموعة من الـ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Routes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كل صفحة رئيسية في التطبيق، وده خلّى التنقّل بين الصفحات سلس وسريع بدون إعادة تحميل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روتس اللي استخدمناها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/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→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الصفحة الرئيسية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(Home Page)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/products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→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صفحة عرض كل المنتجات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/product/:id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→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صفحة تفاصيل منتج واحد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/cart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→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صفحة العربة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/order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→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صفحة تأكيد الطلب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/login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→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صفحة تسجيل الدخول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/register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→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صفحة إنشاء حساب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ستخدمنا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en-US" sz="2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BrowserRouter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في لفّ التطبيق كله، وداخلها استخدمنا عناصر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Route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و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Unicode MS" panose="020B0604020202020204" pitchFamily="34" charset="-128"/>
              </a:rPr>
              <a:t>Routes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anose="020B0604020202020204" pitchFamily="34" charset="0"/>
              </a:rPr>
              <a:t>علشان نربط كل مسار بالمكون المناسب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روتس ساعدتنا نعمل تطبيق من نوع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ingle Page Application (SPA)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بتجربة استخدام سريعة ومنظّمة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5397B1-18F5-496A-9674-7C47175AB25B}"/>
              </a:ext>
            </a:extLst>
          </p:cNvPr>
          <p:cNvSpPr txBox="1"/>
          <p:nvPr/>
        </p:nvSpPr>
        <p:spPr>
          <a:xfrm>
            <a:off x="7268064" y="136525"/>
            <a:ext cx="466155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200" b="1" u="sng" dirty="0">
                <a:solidFill>
                  <a:schemeClr val="bg1"/>
                </a:solidFill>
              </a:rPr>
              <a:t>الروتس في المشروع (</a:t>
            </a:r>
            <a:r>
              <a:rPr lang="en-US" sz="3200" b="1" u="sng" dirty="0">
                <a:solidFill>
                  <a:schemeClr val="bg1"/>
                </a:solidFill>
              </a:rPr>
              <a:t>Routes</a:t>
            </a:r>
            <a:r>
              <a:rPr lang="ar-SA" sz="3200" b="1" u="sng" dirty="0">
                <a:solidFill>
                  <a:schemeClr val="bg1"/>
                </a:solidFill>
              </a:rPr>
              <a:t>)</a:t>
            </a:r>
            <a:endParaRPr lang="en-US" sz="3200" b="1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572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Our Team</a:t>
            </a:r>
          </a:p>
        </p:txBody>
      </p: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40BD55C2-330E-3359-E607-0612210362C1}"/>
              </a:ext>
            </a:extLst>
          </p:cNvPr>
          <p:cNvGrpSpPr/>
          <p:nvPr/>
        </p:nvGrpSpPr>
        <p:grpSpPr>
          <a:xfrm>
            <a:off x="234547" y="7342788"/>
            <a:ext cx="11709360" cy="4900966"/>
            <a:chOff x="234547" y="338873"/>
            <a:chExt cx="11709360" cy="4900966"/>
          </a:xfrm>
        </p:grpSpPr>
        <p:cxnSp>
          <p:nvCxnSpPr>
            <p:cNvPr id="288" name="Straight Connector 287">
              <a:extLst>
                <a:ext uri="{FF2B5EF4-FFF2-40B4-BE49-F238E27FC236}">
                  <a16:creationId xmlns:a16="http://schemas.microsoft.com/office/drawing/2014/main" id="{C6CDAFE0-B504-DD58-BB39-D68A4869552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 useBgFill="1">
          <p:nvSpPr>
            <p:cNvPr id="289" name="Oval 288">
              <a:extLst>
                <a:ext uri="{FF2B5EF4-FFF2-40B4-BE49-F238E27FC236}">
                  <a16:creationId xmlns:a16="http://schemas.microsoft.com/office/drawing/2014/main" id="{7276CCCD-6AB5-9637-F89D-F0390F47439A}"/>
                </a:ext>
              </a:extLst>
            </p:cNvPr>
            <p:cNvSpPr/>
            <p:nvPr/>
          </p:nvSpPr>
          <p:spPr>
            <a:xfrm>
              <a:off x="5842207" y="338873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922467" t="-367961" r="-379491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90" name="Graphic 289">
              <a:extLst>
                <a:ext uri="{FF2B5EF4-FFF2-40B4-BE49-F238E27FC236}">
                  <a16:creationId xmlns:a16="http://schemas.microsoft.com/office/drawing/2014/main" id="{FD372D03-EECF-FBBE-B46F-948E892C94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70000" y="466666"/>
              <a:ext cx="252000" cy="252000"/>
            </a:xfrm>
            <a:prstGeom prst="rect">
              <a:avLst/>
            </a:prstGeom>
          </p:spPr>
        </p:pic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2BD64E14-F291-FCCC-2A7B-B732C0E89E46}"/>
                </a:ext>
              </a:extLst>
            </p:cNvPr>
            <p:cNvSpPr txBox="1"/>
            <p:nvPr/>
          </p:nvSpPr>
          <p:spPr>
            <a:xfrm>
              <a:off x="2359185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E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1D6ACFF2-4AB2-29B4-8CBF-7F0716EA29D4}"/>
                </a:ext>
              </a:extLst>
            </p:cNvPr>
            <p:cNvSpPr txBox="1"/>
            <p:nvPr/>
          </p:nvSpPr>
          <p:spPr>
            <a:xfrm>
              <a:off x="2403123" y="4671889"/>
              <a:ext cx="846706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bi Wan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93" name="Rounded Rectangle 24">
              <a:extLst>
                <a:ext uri="{FF2B5EF4-FFF2-40B4-BE49-F238E27FC236}">
                  <a16:creationId xmlns:a16="http://schemas.microsoft.com/office/drawing/2014/main" id="{340780BC-6989-5F24-8C34-BCE8F38A435C}"/>
                </a:ext>
              </a:extLst>
            </p:cNvPr>
            <p:cNvSpPr/>
            <p:nvPr/>
          </p:nvSpPr>
          <p:spPr>
            <a:xfrm>
              <a:off x="2143125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CA81D347-D0B1-35F7-EA5C-1C58B907967E}"/>
                </a:ext>
              </a:extLst>
            </p:cNvPr>
            <p:cNvSpPr/>
            <p:nvPr/>
          </p:nvSpPr>
          <p:spPr>
            <a:xfrm>
              <a:off x="2728339" y="3422713"/>
              <a:ext cx="272746" cy="137467"/>
            </a:xfrm>
            <a:custGeom>
              <a:avLst/>
              <a:gdLst>
                <a:gd name="connsiteX0" fmla="*/ 269204 w 272746"/>
                <a:gd name="connsiteY0" fmla="*/ 135867 h 137467"/>
                <a:gd name="connsiteX1" fmla="*/ 255799 w 272746"/>
                <a:gd name="connsiteY1" fmla="*/ 65825 h 137467"/>
                <a:gd name="connsiteX2" fmla="*/ 234748 w 272746"/>
                <a:gd name="connsiteY2" fmla="*/ 26021 h 137467"/>
                <a:gd name="connsiteX3" fmla="*/ 133084 w 272746"/>
                <a:gd name="connsiteY3" fmla="*/ 2192 h 137467"/>
                <a:gd name="connsiteX4" fmla="*/ 55350 w 272746"/>
                <a:gd name="connsiteY4" fmla="*/ 11850 h 137467"/>
                <a:gd name="connsiteX5" fmla="*/ 6679 w 272746"/>
                <a:gd name="connsiteY5" fmla="*/ 56619 h 137467"/>
                <a:gd name="connsiteX6" fmla="*/ 19543 w 272746"/>
                <a:gd name="connsiteY6" fmla="*/ 89294 h 137467"/>
                <a:gd name="connsiteX7" fmla="*/ 269204 w 272746"/>
                <a:gd name="connsiteY7" fmla="*/ 135867 h 13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746" h="137467">
                  <a:moveTo>
                    <a:pt x="269204" y="135867"/>
                  </a:moveTo>
                  <a:cubicBezTo>
                    <a:pt x="288098" y="126841"/>
                    <a:pt x="265426" y="71061"/>
                    <a:pt x="255799" y="65825"/>
                  </a:cubicBezTo>
                  <a:cubicBezTo>
                    <a:pt x="248781" y="62035"/>
                    <a:pt x="248871" y="35408"/>
                    <a:pt x="234748" y="26021"/>
                  </a:cubicBezTo>
                  <a:cubicBezTo>
                    <a:pt x="215674" y="13385"/>
                    <a:pt x="155126" y="3997"/>
                    <a:pt x="133084" y="2192"/>
                  </a:cubicBezTo>
                  <a:cubicBezTo>
                    <a:pt x="111941" y="477"/>
                    <a:pt x="75143" y="4088"/>
                    <a:pt x="55350" y="11850"/>
                  </a:cubicBezTo>
                  <a:cubicBezTo>
                    <a:pt x="31420" y="21147"/>
                    <a:pt x="17835" y="36671"/>
                    <a:pt x="6679" y="56619"/>
                  </a:cubicBezTo>
                  <a:cubicBezTo>
                    <a:pt x="-339" y="69166"/>
                    <a:pt x="5778" y="85050"/>
                    <a:pt x="19543" y="89294"/>
                  </a:cubicBezTo>
                  <a:cubicBezTo>
                    <a:pt x="80002" y="107887"/>
                    <a:pt x="231328" y="151662"/>
                    <a:pt x="269204" y="135867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A51F89A1-85B5-CD2F-0079-23EB5B06185C}"/>
                </a:ext>
              </a:extLst>
            </p:cNvPr>
            <p:cNvSpPr/>
            <p:nvPr/>
          </p:nvSpPr>
          <p:spPr>
            <a:xfrm>
              <a:off x="2230908" y="3454441"/>
              <a:ext cx="1115774" cy="1010020"/>
            </a:xfrm>
            <a:custGeom>
              <a:avLst/>
              <a:gdLst>
                <a:gd name="connsiteX0" fmla="*/ 644100 w 1115774"/>
                <a:gd name="connsiteY0" fmla="*/ 1011793 h 1010020"/>
                <a:gd name="connsiteX1" fmla="*/ 496821 w 1115774"/>
                <a:gd name="connsiteY1" fmla="*/ 1007551 h 1010020"/>
                <a:gd name="connsiteX2" fmla="*/ 385890 w 1115774"/>
                <a:gd name="connsiteY2" fmla="*/ 1002948 h 1010020"/>
                <a:gd name="connsiteX3" fmla="*/ 297904 w 1115774"/>
                <a:gd name="connsiteY3" fmla="*/ 1002858 h 1010020"/>
                <a:gd name="connsiteX4" fmla="*/ 282339 w 1115774"/>
                <a:gd name="connsiteY4" fmla="*/ 1001865 h 1010020"/>
                <a:gd name="connsiteX5" fmla="*/ 64885 w 1115774"/>
                <a:gd name="connsiteY5" fmla="*/ 990763 h 1010020"/>
                <a:gd name="connsiteX6" fmla="*/ 40775 w 1115774"/>
                <a:gd name="connsiteY6" fmla="*/ 996269 h 1010020"/>
                <a:gd name="connsiteX7" fmla="*/ 10364 w 1115774"/>
                <a:gd name="connsiteY7" fmla="*/ 902308 h 1010020"/>
                <a:gd name="connsiteX8" fmla="*/ 12794 w 1115774"/>
                <a:gd name="connsiteY8" fmla="*/ 637666 h 1010020"/>
                <a:gd name="connsiteX9" fmla="*/ 90077 w 1115774"/>
                <a:gd name="connsiteY9" fmla="*/ 307495 h 1010020"/>
                <a:gd name="connsiteX10" fmla="*/ 155304 w 1115774"/>
                <a:gd name="connsiteY10" fmla="*/ 202341 h 1010020"/>
                <a:gd name="connsiteX11" fmla="*/ 212972 w 1115774"/>
                <a:gd name="connsiteY11" fmla="*/ 160281 h 1010020"/>
                <a:gd name="connsiteX12" fmla="*/ 236185 w 1115774"/>
                <a:gd name="connsiteY12" fmla="*/ 131037 h 1010020"/>
                <a:gd name="connsiteX13" fmla="*/ 271992 w 1115774"/>
                <a:gd name="connsiteY13" fmla="*/ 116866 h 1010020"/>
                <a:gd name="connsiteX14" fmla="*/ 298802 w 1115774"/>
                <a:gd name="connsiteY14" fmla="*/ 93489 h 1010020"/>
                <a:gd name="connsiteX15" fmla="*/ 327771 w 1115774"/>
                <a:gd name="connsiteY15" fmla="*/ 84643 h 1010020"/>
                <a:gd name="connsiteX16" fmla="*/ 440051 w 1115774"/>
                <a:gd name="connsiteY16" fmla="*/ 46463 h 1010020"/>
                <a:gd name="connsiteX17" fmla="*/ 473699 w 1115774"/>
                <a:gd name="connsiteY17" fmla="*/ 36444 h 1010020"/>
                <a:gd name="connsiteX18" fmla="*/ 499521 w 1115774"/>
                <a:gd name="connsiteY18" fmla="*/ 13879 h 1010020"/>
                <a:gd name="connsiteX19" fmla="*/ 546484 w 1115774"/>
                <a:gd name="connsiteY19" fmla="*/ 11803 h 1010020"/>
                <a:gd name="connsiteX20" fmla="*/ 737576 w 1115774"/>
                <a:gd name="connsiteY20" fmla="*/ 33194 h 1010020"/>
                <a:gd name="connsiteX21" fmla="*/ 780671 w 1115774"/>
                <a:gd name="connsiteY21" fmla="*/ 35541 h 1010020"/>
                <a:gd name="connsiteX22" fmla="*/ 803073 w 1115774"/>
                <a:gd name="connsiteY22" fmla="*/ 86087 h 1010020"/>
                <a:gd name="connsiteX23" fmla="*/ 826195 w 1115774"/>
                <a:gd name="connsiteY23" fmla="*/ 91593 h 1010020"/>
                <a:gd name="connsiteX24" fmla="*/ 846976 w 1115774"/>
                <a:gd name="connsiteY24" fmla="*/ 102334 h 1010020"/>
                <a:gd name="connsiteX25" fmla="*/ 859393 w 1115774"/>
                <a:gd name="connsiteY25" fmla="*/ 109915 h 1010020"/>
                <a:gd name="connsiteX26" fmla="*/ 1042836 w 1115774"/>
                <a:gd name="connsiteY26" fmla="*/ 313452 h 1010020"/>
                <a:gd name="connsiteX27" fmla="*/ 1062899 w 1115774"/>
                <a:gd name="connsiteY27" fmla="*/ 384938 h 1010020"/>
                <a:gd name="connsiteX28" fmla="*/ 1078555 w 1115774"/>
                <a:gd name="connsiteY28" fmla="*/ 492527 h 1010020"/>
                <a:gd name="connsiteX29" fmla="*/ 1077655 w 1115774"/>
                <a:gd name="connsiteY29" fmla="*/ 553453 h 1010020"/>
                <a:gd name="connsiteX30" fmla="*/ 1088270 w 1115774"/>
                <a:gd name="connsiteY30" fmla="*/ 586579 h 1010020"/>
                <a:gd name="connsiteX31" fmla="*/ 1085213 w 1115774"/>
                <a:gd name="connsiteY31" fmla="*/ 640373 h 1010020"/>
                <a:gd name="connsiteX32" fmla="*/ 1106264 w 1115774"/>
                <a:gd name="connsiteY32" fmla="*/ 807354 h 1010020"/>
                <a:gd name="connsiteX33" fmla="*/ 1106264 w 1115774"/>
                <a:gd name="connsiteY33" fmla="*/ 911965 h 1010020"/>
                <a:gd name="connsiteX34" fmla="*/ 1107615 w 1115774"/>
                <a:gd name="connsiteY34" fmla="*/ 921895 h 1010020"/>
                <a:gd name="connsiteX35" fmla="*/ 1112381 w 1115774"/>
                <a:gd name="connsiteY35" fmla="*/ 930740 h 1010020"/>
                <a:gd name="connsiteX36" fmla="*/ 1112381 w 1115774"/>
                <a:gd name="connsiteY36" fmla="*/ 930740 h 1010020"/>
                <a:gd name="connsiteX37" fmla="*/ 1091510 w 1115774"/>
                <a:gd name="connsiteY37" fmla="*/ 977313 h 1010020"/>
                <a:gd name="connsiteX38" fmla="*/ 994434 w 1115774"/>
                <a:gd name="connsiteY38" fmla="*/ 990852 h 1010020"/>
                <a:gd name="connsiteX39" fmla="*/ 979859 w 1115774"/>
                <a:gd name="connsiteY39" fmla="*/ 992568 h 1010020"/>
                <a:gd name="connsiteX40" fmla="*/ 949270 w 1115774"/>
                <a:gd name="connsiteY40" fmla="*/ 996449 h 1010020"/>
                <a:gd name="connsiteX41" fmla="*/ 949270 w 1115774"/>
                <a:gd name="connsiteY41" fmla="*/ 996449 h 1010020"/>
                <a:gd name="connsiteX42" fmla="*/ 883864 w 1115774"/>
                <a:gd name="connsiteY42" fmla="*/ 996900 h 1010020"/>
                <a:gd name="connsiteX43" fmla="*/ 819447 w 1115774"/>
                <a:gd name="connsiteY43" fmla="*/ 999066 h 1010020"/>
                <a:gd name="connsiteX44" fmla="*/ 819447 w 1115774"/>
                <a:gd name="connsiteY44" fmla="*/ 999066 h 1010020"/>
                <a:gd name="connsiteX45" fmla="*/ 644100 w 1115774"/>
                <a:gd name="connsiteY45" fmla="*/ 1011793 h 101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115774" h="1010020">
                  <a:moveTo>
                    <a:pt x="644100" y="1011793"/>
                  </a:moveTo>
                  <a:cubicBezTo>
                    <a:pt x="595966" y="1011793"/>
                    <a:pt x="549454" y="1009898"/>
                    <a:pt x="496821" y="1007551"/>
                  </a:cubicBezTo>
                  <a:cubicBezTo>
                    <a:pt x="455976" y="1007551"/>
                    <a:pt x="424577" y="996178"/>
                    <a:pt x="385890" y="1002948"/>
                  </a:cubicBezTo>
                  <a:cubicBezTo>
                    <a:pt x="355482" y="1011793"/>
                    <a:pt x="329660" y="1004843"/>
                    <a:pt x="297904" y="1002858"/>
                  </a:cubicBezTo>
                  <a:cubicBezTo>
                    <a:pt x="297453" y="1002767"/>
                    <a:pt x="283058" y="1001955"/>
                    <a:pt x="282339" y="1001865"/>
                  </a:cubicBezTo>
                  <a:cubicBezTo>
                    <a:pt x="209645" y="999066"/>
                    <a:pt x="137760" y="991846"/>
                    <a:pt x="64885" y="990763"/>
                  </a:cubicBezTo>
                  <a:cubicBezTo>
                    <a:pt x="63086" y="1001955"/>
                    <a:pt x="46442" y="1007732"/>
                    <a:pt x="40775" y="996269"/>
                  </a:cubicBezTo>
                  <a:cubicBezTo>
                    <a:pt x="26739" y="965580"/>
                    <a:pt x="16664" y="935163"/>
                    <a:pt x="10364" y="902308"/>
                  </a:cubicBezTo>
                  <a:cubicBezTo>
                    <a:pt x="-5380" y="814936"/>
                    <a:pt x="11805" y="725670"/>
                    <a:pt x="12794" y="637666"/>
                  </a:cubicBezTo>
                  <a:cubicBezTo>
                    <a:pt x="13784" y="520960"/>
                    <a:pt x="35105" y="412286"/>
                    <a:pt x="90077" y="307495"/>
                  </a:cubicBezTo>
                  <a:cubicBezTo>
                    <a:pt x="107890" y="270579"/>
                    <a:pt x="125974" y="231857"/>
                    <a:pt x="155304" y="202341"/>
                  </a:cubicBezTo>
                  <a:cubicBezTo>
                    <a:pt x="171949" y="184922"/>
                    <a:pt x="192549" y="172647"/>
                    <a:pt x="212972" y="160281"/>
                  </a:cubicBezTo>
                  <a:cubicBezTo>
                    <a:pt x="223500" y="152970"/>
                    <a:pt x="227188" y="139792"/>
                    <a:pt x="236185" y="131037"/>
                  </a:cubicBezTo>
                  <a:cubicBezTo>
                    <a:pt x="245452" y="120476"/>
                    <a:pt x="260115" y="121650"/>
                    <a:pt x="271992" y="116866"/>
                  </a:cubicBezTo>
                  <a:cubicBezTo>
                    <a:pt x="282427" y="110818"/>
                    <a:pt x="288366" y="99806"/>
                    <a:pt x="298802" y="93489"/>
                  </a:cubicBezTo>
                  <a:cubicBezTo>
                    <a:pt x="307529" y="87802"/>
                    <a:pt x="317876" y="86177"/>
                    <a:pt x="327771" y="84643"/>
                  </a:cubicBezTo>
                  <a:cubicBezTo>
                    <a:pt x="366728" y="78595"/>
                    <a:pt x="404064" y="62259"/>
                    <a:pt x="440051" y="46463"/>
                  </a:cubicBezTo>
                  <a:cubicBezTo>
                    <a:pt x="450759" y="41950"/>
                    <a:pt x="461645" y="35541"/>
                    <a:pt x="473699" y="36444"/>
                  </a:cubicBezTo>
                  <a:cubicBezTo>
                    <a:pt x="488815" y="40145"/>
                    <a:pt x="488815" y="19655"/>
                    <a:pt x="499521" y="13879"/>
                  </a:cubicBezTo>
                  <a:cubicBezTo>
                    <a:pt x="508968" y="1694"/>
                    <a:pt x="537487" y="-4895"/>
                    <a:pt x="546484" y="11803"/>
                  </a:cubicBezTo>
                  <a:cubicBezTo>
                    <a:pt x="608831" y="27057"/>
                    <a:pt x="673069" y="41228"/>
                    <a:pt x="737576" y="33194"/>
                  </a:cubicBezTo>
                  <a:cubicBezTo>
                    <a:pt x="745762" y="13609"/>
                    <a:pt x="776172" y="11803"/>
                    <a:pt x="780671" y="35541"/>
                  </a:cubicBezTo>
                  <a:cubicBezTo>
                    <a:pt x="794346" y="48900"/>
                    <a:pt x="791827" y="71645"/>
                    <a:pt x="803073" y="86087"/>
                  </a:cubicBezTo>
                  <a:cubicBezTo>
                    <a:pt x="809010" y="91322"/>
                    <a:pt x="818817" y="89247"/>
                    <a:pt x="826195" y="91593"/>
                  </a:cubicBezTo>
                  <a:cubicBezTo>
                    <a:pt x="833661" y="93939"/>
                    <a:pt x="840408" y="98182"/>
                    <a:pt x="846976" y="102334"/>
                  </a:cubicBezTo>
                  <a:cubicBezTo>
                    <a:pt x="847516" y="102695"/>
                    <a:pt x="858852" y="109645"/>
                    <a:pt x="859393" y="109915"/>
                  </a:cubicBezTo>
                  <a:cubicBezTo>
                    <a:pt x="936766" y="154324"/>
                    <a:pt x="1029251" y="218137"/>
                    <a:pt x="1042836" y="313452"/>
                  </a:cubicBezTo>
                  <a:cubicBezTo>
                    <a:pt x="1041668" y="339808"/>
                    <a:pt x="1061640" y="359394"/>
                    <a:pt x="1062899" y="384938"/>
                  </a:cubicBezTo>
                  <a:cubicBezTo>
                    <a:pt x="1067757" y="421042"/>
                    <a:pt x="1058400" y="460395"/>
                    <a:pt x="1078555" y="492527"/>
                  </a:cubicBezTo>
                  <a:cubicBezTo>
                    <a:pt x="1086922" y="512295"/>
                    <a:pt x="1077745" y="533235"/>
                    <a:pt x="1077655" y="553453"/>
                  </a:cubicBezTo>
                  <a:cubicBezTo>
                    <a:pt x="1077655" y="565458"/>
                    <a:pt x="1084853" y="575567"/>
                    <a:pt x="1088270" y="586579"/>
                  </a:cubicBezTo>
                  <a:cubicBezTo>
                    <a:pt x="1093759" y="604450"/>
                    <a:pt x="1086021" y="622412"/>
                    <a:pt x="1085213" y="640373"/>
                  </a:cubicBezTo>
                  <a:cubicBezTo>
                    <a:pt x="1087372" y="696245"/>
                    <a:pt x="1104285" y="753198"/>
                    <a:pt x="1106264" y="807354"/>
                  </a:cubicBezTo>
                  <a:cubicBezTo>
                    <a:pt x="1108603" y="842375"/>
                    <a:pt x="1108693" y="877306"/>
                    <a:pt x="1106264" y="911965"/>
                  </a:cubicBezTo>
                  <a:cubicBezTo>
                    <a:pt x="1106264" y="912507"/>
                    <a:pt x="1106264" y="918103"/>
                    <a:pt x="1107615" y="921895"/>
                  </a:cubicBezTo>
                  <a:cubicBezTo>
                    <a:pt x="1108783" y="925053"/>
                    <a:pt x="1110582" y="927941"/>
                    <a:pt x="1112381" y="930740"/>
                  </a:cubicBezTo>
                  <a:lnTo>
                    <a:pt x="1112381" y="930740"/>
                  </a:lnTo>
                  <a:cubicBezTo>
                    <a:pt x="1127858" y="951680"/>
                    <a:pt x="1116970" y="974787"/>
                    <a:pt x="1091510" y="977313"/>
                  </a:cubicBezTo>
                  <a:cubicBezTo>
                    <a:pt x="1058761" y="983361"/>
                    <a:pt x="1024662" y="987333"/>
                    <a:pt x="994434" y="990852"/>
                  </a:cubicBezTo>
                  <a:cubicBezTo>
                    <a:pt x="993804" y="990943"/>
                    <a:pt x="980489" y="992477"/>
                    <a:pt x="979859" y="992568"/>
                  </a:cubicBezTo>
                  <a:cubicBezTo>
                    <a:pt x="971312" y="993560"/>
                    <a:pt x="958447" y="995095"/>
                    <a:pt x="949270" y="996449"/>
                  </a:cubicBezTo>
                  <a:lnTo>
                    <a:pt x="949270" y="996449"/>
                  </a:lnTo>
                  <a:cubicBezTo>
                    <a:pt x="927589" y="999969"/>
                    <a:pt x="905455" y="1001684"/>
                    <a:pt x="883864" y="996900"/>
                  </a:cubicBezTo>
                  <a:cubicBezTo>
                    <a:pt x="862720" y="991665"/>
                    <a:pt x="840498" y="995005"/>
                    <a:pt x="819447" y="999066"/>
                  </a:cubicBezTo>
                  <a:lnTo>
                    <a:pt x="819447" y="999066"/>
                  </a:lnTo>
                  <a:cubicBezTo>
                    <a:pt x="760518" y="1009266"/>
                    <a:pt x="706627" y="1011522"/>
                    <a:pt x="644100" y="101179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 dirty="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296" name="Graphic 33" descr="Person wearing sweater">
              <a:extLst>
                <a:ext uri="{FF2B5EF4-FFF2-40B4-BE49-F238E27FC236}">
                  <a16:creationId xmlns:a16="http://schemas.microsoft.com/office/drawing/2014/main" id="{B5BD1296-93C0-1684-AE9F-A4424EFE165A}"/>
                </a:ext>
              </a:extLst>
            </p:cNvPr>
            <p:cNvGrpSpPr/>
            <p:nvPr/>
          </p:nvGrpSpPr>
          <p:grpSpPr>
            <a:xfrm>
              <a:off x="2484484" y="4181716"/>
              <a:ext cx="735341" cy="278725"/>
              <a:chOff x="2484484" y="4298660"/>
              <a:chExt cx="735341" cy="278725"/>
            </a:xfrm>
            <a:solidFill>
              <a:srgbClr val="FFFFFF"/>
            </a:solidFill>
          </p:grpSpPr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33D7DF37-2D48-D90C-1B78-03ED279E922B}"/>
                  </a:ext>
                </a:extLst>
              </p:cNvPr>
              <p:cNvSpPr/>
              <p:nvPr/>
            </p:nvSpPr>
            <p:spPr>
              <a:xfrm>
                <a:off x="2484484" y="4298660"/>
                <a:ext cx="39170" cy="278725"/>
              </a:xfrm>
              <a:custGeom>
                <a:avLst/>
                <a:gdLst>
                  <a:gd name="connsiteX0" fmla="*/ 42887 w 39170"/>
                  <a:gd name="connsiteY0" fmla="*/ 275492 h 278725"/>
                  <a:gd name="connsiteX1" fmla="*/ 13647 w 39170"/>
                  <a:gd name="connsiteY1" fmla="*/ 7149 h 278725"/>
                  <a:gd name="connsiteX2" fmla="*/ 3752 w 39170"/>
                  <a:gd name="connsiteY2" fmla="*/ 3358 h 278725"/>
                  <a:gd name="connsiteX3" fmla="*/ 30922 w 39170"/>
                  <a:gd name="connsiteY3" fmla="*/ 274680 h 278725"/>
                  <a:gd name="connsiteX4" fmla="*/ 37580 w 39170"/>
                  <a:gd name="connsiteY4" fmla="*/ 280366 h 278725"/>
                  <a:gd name="connsiteX5" fmla="*/ 42887 w 39170"/>
                  <a:gd name="connsiteY5" fmla="*/ 275492 h 278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170" h="278725">
                    <a:moveTo>
                      <a:pt x="42887" y="275492"/>
                    </a:moveTo>
                    <a:cubicBezTo>
                      <a:pt x="14368" y="189835"/>
                      <a:pt x="17965" y="96507"/>
                      <a:pt x="13647" y="7149"/>
                    </a:cubicBezTo>
                    <a:cubicBezTo>
                      <a:pt x="13647" y="2275"/>
                      <a:pt x="7080" y="19"/>
                      <a:pt x="3752" y="3358"/>
                    </a:cubicBezTo>
                    <a:cubicBezTo>
                      <a:pt x="4200" y="92987"/>
                      <a:pt x="4380" y="187579"/>
                      <a:pt x="30922" y="274680"/>
                    </a:cubicBezTo>
                    <a:cubicBezTo>
                      <a:pt x="30922" y="274680"/>
                      <a:pt x="32811" y="279553"/>
                      <a:pt x="37580" y="280366"/>
                    </a:cubicBezTo>
                    <a:cubicBezTo>
                      <a:pt x="43697" y="281450"/>
                      <a:pt x="42887" y="275492"/>
                      <a:pt x="42887" y="27549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523103AF-36A9-E157-4C6E-39E1D696CD3B}"/>
                  </a:ext>
                </a:extLst>
              </p:cNvPr>
              <p:cNvSpPr/>
              <p:nvPr/>
            </p:nvSpPr>
            <p:spPr>
              <a:xfrm>
                <a:off x="3191779" y="4390311"/>
                <a:ext cx="28046" cy="175771"/>
              </a:xfrm>
              <a:custGeom>
                <a:avLst/>
                <a:gdLst>
                  <a:gd name="connsiteX0" fmla="*/ 31765 w 28046"/>
                  <a:gd name="connsiteY0" fmla="*/ 172107 h 175771"/>
                  <a:gd name="connsiteX1" fmla="*/ 14940 w 28046"/>
                  <a:gd name="connsiteY1" fmla="*/ 7022 h 175771"/>
                  <a:gd name="connsiteX2" fmla="*/ 3784 w 28046"/>
                  <a:gd name="connsiteY2" fmla="*/ 7022 h 175771"/>
                  <a:gd name="connsiteX3" fmla="*/ 20789 w 28046"/>
                  <a:gd name="connsiteY3" fmla="*/ 173461 h 175771"/>
                  <a:gd name="connsiteX4" fmla="*/ 27266 w 28046"/>
                  <a:gd name="connsiteY4" fmla="*/ 177433 h 175771"/>
                  <a:gd name="connsiteX5" fmla="*/ 31765 w 28046"/>
                  <a:gd name="connsiteY5" fmla="*/ 172107 h 17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046" h="175771">
                    <a:moveTo>
                      <a:pt x="31765" y="172107"/>
                    </a:moveTo>
                    <a:cubicBezTo>
                      <a:pt x="24477" y="123908"/>
                      <a:pt x="18808" y="57206"/>
                      <a:pt x="14940" y="7022"/>
                    </a:cubicBezTo>
                    <a:cubicBezTo>
                      <a:pt x="14850" y="343"/>
                      <a:pt x="3063" y="-289"/>
                      <a:pt x="3784" y="7022"/>
                    </a:cubicBezTo>
                    <a:cubicBezTo>
                      <a:pt x="8012" y="61269"/>
                      <a:pt x="13321" y="122916"/>
                      <a:pt x="20789" y="173461"/>
                    </a:cubicBezTo>
                    <a:cubicBezTo>
                      <a:pt x="20789" y="173461"/>
                      <a:pt x="22047" y="178335"/>
                      <a:pt x="27266" y="177433"/>
                    </a:cubicBezTo>
                    <a:cubicBezTo>
                      <a:pt x="32483" y="176620"/>
                      <a:pt x="31765" y="172107"/>
                      <a:pt x="31765" y="17210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97" name="Graphic 33" descr="Person wearing sweater">
              <a:extLst>
                <a:ext uri="{FF2B5EF4-FFF2-40B4-BE49-F238E27FC236}">
                  <a16:creationId xmlns:a16="http://schemas.microsoft.com/office/drawing/2014/main" id="{3721D15E-F9F1-D125-4B8A-4352084BAC67}"/>
                </a:ext>
              </a:extLst>
            </p:cNvPr>
            <p:cNvGrpSpPr/>
            <p:nvPr/>
          </p:nvGrpSpPr>
          <p:grpSpPr>
            <a:xfrm>
              <a:off x="2322462" y="3555546"/>
              <a:ext cx="1012449" cy="848997"/>
              <a:chOff x="2322462" y="3672490"/>
              <a:chExt cx="1012449" cy="848997"/>
            </a:xfrm>
            <a:solidFill>
              <a:srgbClr val="FFFFFF"/>
            </a:solidFill>
          </p:grpSpPr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87188363-4734-D9C3-5642-3CA684202B23}"/>
                  </a:ext>
                </a:extLst>
              </p:cNvPr>
              <p:cNvSpPr/>
              <p:nvPr/>
            </p:nvSpPr>
            <p:spPr>
              <a:xfrm>
                <a:off x="2637042" y="4503330"/>
                <a:ext cx="22938" cy="18157"/>
              </a:xfrm>
              <a:custGeom>
                <a:avLst/>
                <a:gdLst>
                  <a:gd name="connsiteX0" fmla="*/ 21323 w 22938"/>
                  <a:gd name="connsiteY0" fmla="*/ 1773 h 18157"/>
                  <a:gd name="connsiteX1" fmla="*/ 17275 w 22938"/>
                  <a:gd name="connsiteY1" fmla="*/ 3037 h 18157"/>
                  <a:gd name="connsiteX2" fmla="*/ 3960 w 22938"/>
                  <a:gd name="connsiteY2" fmla="*/ 16214 h 18157"/>
                  <a:gd name="connsiteX3" fmla="*/ 21863 w 22938"/>
                  <a:gd name="connsiteY3" fmla="*/ 13146 h 18157"/>
                  <a:gd name="connsiteX4" fmla="*/ 21323 w 22938"/>
                  <a:gd name="connsiteY4" fmla="*/ 1773 h 1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38" h="18157">
                    <a:moveTo>
                      <a:pt x="21323" y="1773"/>
                    </a:moveTo>
                    <a:cubicBezTo>
                      <a:pt x="19884" y="1773"/>
                      <a:pt x="18533" y="2405"/>
                      <a:pt x="17275" y="3037"/>
                    </a:cubicBezTo>
                    <a:cubicBezTo>
                      <a:pt x="12506" y="6015"/>
                      <a:pt x="2161" y="9085"/>
                      <a:pt x="3960" y="16214"/>
                    </a:cubicBezTo>
                    <a:cubicBezTo>
                      <a:pt x="8548" y="25331"/>
                      <a:pt x="16014" y="15041"/>
                      <a:pt x="21863" y="13146"/>
                    </a:cubicBezTo>
                    <a:cubicBezTo>
                      <a:pt x="28431" y="11882"/>
                      <a:pt x="28341" y="1863"/>
                      <a:pt x="2132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EF8C9EAE-316A-808F-1EC2-53BDEAC0D51A}"/>
                  </a:ext>
                </a:extLst>
              </p:cNvPr>
              <p:cNvSpPr/>
              <p:nvPr/>
            </p:nvSpPr>
            <p:spPr>
              <a:xfrm>
                <a:off x="2793401" y="4498367"/>
                <a:ext cx="32260" cy="16224"/>
              </a:xfrm>
              <a:custGeom>
                <a:avLst/>
                <a:gdLst>
                  <a:gd name="connsiteX0" fmla="*/ 8642 w 32260"/>
                  <a:gd name="connsiteY0" fmla="*/ 1773 h 16224"/>
                  <a:gd name="connsiteX1" fmla="*/ 7563 w 32260"/>
                  <a:gd name="connsiteY1" fmla="*/ 12784 h 16224"/>
                  <a:gd name="connsiteX2" fmla="*/ 35992 w 32260"/>
                  <a:gd name="connsiteY2" fmla="*/ 12784 h 16224"/>
                  <a:gd name="connsiteX3" fmla="*/ 30593 w 32260"/>
                  <a:gd name="connsiteY3" fmla="*/ 6646 h 16224"/>
                  <a:gd name="connsiteX4" fmla="*/ 8642 w 32260"/>
                  <a:gd name="connsiteY4" fmla="*/ 1773 h 1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260" h="16224">
                    <a:moveTo>
                      <a:pt x="8642" y="1773"/>
                    </a:moveTo>
                    <a:cubicBezTo>
                      <a:pt x="2795" y="1862"/>
                      <a:pt x="1894" y="11340"/>
                      <a:pt x="7563" y="12784"/>
                    </a:cubicBezTo>
                    <a:cubicBezTo>
                      <a:pt x="14491" y="14318"/>
                      <a:pt x="34103" y="23706"/>
                      <a:pt x="35992" y="12784"/>
                    </a:cubicBezTo>
                    <a:cubicBezTo>
                      <a:pt x="36262" y="9715"/>
                      <a:pt x="33833" y="6556"/>
                      <a:pt x="30593" y="6646"/>
                    </a:cubicBezTo>
                    <a:cubicBezTo>
                      <a:pt x="22947" y="6737"/>
                      <a:pt x="15929" y="3397"/>
                      <a:pt x="8642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FAA06C73-7AD8-7568-DFB3-842D4F3BE0B9}"/>
                  </a:ext>
                </a:extLst>
              </p:cNvPr>
              <p:cNvSpPr/>
              <p:nvPr/>
            </p:nvSpPr>
            <p:spPr>
              <a:xfrm>
                <a:off x="2327272" y="4455041"/>
                <a:ext cx="15739" cy="16001"/>
              </a:xfrm>
              <a:custGeom>
                <a:avLst/>
                <a:gdLst>
                  <a:gd name="connsiteX0" fmla="*/ 14136 w 15739"/>
                  <a:gd name="connsiteY0" fmla="*/ 1773 h 16001"/>
                  <a:gd name="connsiteX1" fmla="*/ 8467 w 15739"/>
                  <a:gd name="connsiteY1" fmla="*/ 6738 h 16001"/>
                  <a:gd name="connsiteX2" fmla="*/ 9187 w 15739"/>
                  <a:gd name="connsiteY2" fmla="*/ 17749 h 16001"/>
                  <a:gd name="connsiteX3" fmla="*/ 14136 w 15739"/>
                  <a:gd name="connsiteY3" fmla="*/ 1773 h 16001"/>
                  <a:gd name="connsiteX4" fmla="*/ 14136 w 15739"/>
                  <a:gd name="connsiteY4" fmla="*/ 1773 h 16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39" h="16001">
                    <a:moveTo>
                      <a:pt x="14136" y="1773"/>
                    </a:moveTo>
                    <a:cubicBezTo>
                      <a:pt x="11346" y="1773"/>
                      <a:pt x="8827" y="3849"/>
                      <a:pt x="8467" y="6738"/>
                    </a:cubicBezTo>
                    <a:cubicBezTo>
                      <a:pt x="1719" y="7459"/>
                      <a:pt x="2440" y="17930"/>
                      <a:pt x="9187" y="17749"/>
                    </a:cubicBezTo>
                    <a:cubicBezTo>
                      <a:pt x="17554" y="18471"/>
                      <a:pt x="24842" y="3578"/>
                      <a:pt x="14136" y="1773"/>
                    </a:cubicBezTo>
                    <a:lnTo>
                      <a:pt x="14136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F3E1946B-1D4C-ED07-030D-7A051DCA65A3}"/>
                  </a:ext>
                </a:extLst>
              </p:cNvPr>
              <p:cNvSpPr/>
              <p:nvPr/>
            </p:nvSpPr>
            <p:spPr>
              <a:xfrm>
                <a:off x="2956626" y="4438249"/>
                <a:ext cx="37076" cy="13687"/>
              </a:xfrm>
              <a:custGeom>
                <a:avLst/>
                <a:gdLst>
                  <a:gd name="connsiteX0" fmla="*/ 35610 w 37076"/>
                  <a:gd name="connsiteY0" fmla="*/ 1778 h 13687"/>
                  <a:gd name="connsiteX1" fmla="*/ 9158 w 37076"/>
                  <a:gd name="connsiteY1" fmla="*/ 4125 h 13687"/>
                  <a:gd name="connsiteX2" fmla="*/ 3761 w 37076"/>
                  <a:gd name="connsiteY2" fmla="*/ 9901 h 13687"/>
                  <a:gd name="connsiteX3" fmla="*/ 35520 w 37076"/>
                  <a:gd name="connsiteY3" fmla="*/ 12879 h 13687"/>
                  <a:gd name="connsiteX4" fmla="*/ 35610 w 37076"/>
                  <a:gd name="connsiteY4" fmla="*/ 1778 h 13687"/>
                  <a:gd name="connsiteX5" fmla="*/ 35610 w 37076"/>
                  <a:gd name="connsiteY5" fmla="*/ 1778 h 1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076" h="13687">
                    <a:moveTo>
                      <a:pt x="35610" y="1778"/>
                    </a:moveTo>
                    <a:cubicBezTo>
                      <a:pt x="26791" y="1868"/>
                      <a:pt x="18065" y="3944"/>
                      <a:pt x="9158" y="4125"/>
                    </a:cubicBezTo>
                    <a:cubicBezTo>
                      <a:pt x="6100" y="4034"/>
                      <a:pt x="3581" y="6922"/>
                      <a:pt x="3761" y="9901"/>
                    </a:cubicBezTo>
                    <a:cubicBezTo>
                      <a:pt x="4569" y="21274"/>
                      <a:pt x="27692" y="11435"/>
                      <a:pt x="35520" y="12879"/>
                    </a:cubicBezTo>
                    <a:cubicBezTo>
                      <a:pt x="42448" y="13151"/>
                      <a:pt x="42716" y="1507"/>
                      <a:pt x="35610" y="1778"/>
                    </a:cubicBezTo>
                    <a:lnTo>
                      <a:pt x="35610" y="177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3B11448F-07D4-3C65-6AFC-E33C255E2497}"/>
                  </a:ext>
                </a:extLst>
              </p:cNvPr>
              <p:cNvSpPr/>
              <p:nvPr/>
            </p:nvSpPr>
            <p:spPr>
              <a:xfrm>
                <a:off x="3242470" y="4382825"/>
                <a:ext cx="25411" cy="15813"/>
              </a:xfrm>
              <a:custGeom>
                <a:avLst/>
                <a:gdLst>
                  <a:gd name="connsiteX0" fmla="*/ 8873 w 25411"/>
                  <a:gd name="connsiteY0" fmla="*/ 1782 h 15813"/>
                  <a:gd name="connsiteX1" fmla="*/ 5095 w 25411"/>
                  <a:gd name="connsiteY1" fmla="*/ 10988 h 15813"/>
                  <a:gd name="connsiteX2" fmla="*/ 19848 w 25411"/>
                  <a:gd name="connsiteY2" fmla="*/ 16494 h 15813"/>
                  <a:gd name="connsiteX3" fmla="*/ 23268 w 25411"/>
                  <a:gd name="connsiteY3" fmla="*/ 17577 h 15813"/>
                  <a:gd name="connsiteX4" fmla="*/ 29025 w 25411"/>
                  <a:gd name="connsiteY4" fmla="*/ 12883 h 15813"/>
                  <a:gd name="connsiteX5" fmla="*/ 26328 w 25411"/>
                  <a:gd name="connsiteY5" fmla="*/ 7378 h 15813"/>
                  <a:gd name="connsiteX6" fmla="*/ 8873 w 2541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11" h="15813">
                    <a:moveTo>
                      <a:pt x="8873" y="1782"/>
                    </a:moveTo>
                    <a:cubicBezTo>
                      <a:pt x="4194" y="1511"/>
                      <a:pt x="2215" y="7739"/>
                      <a:pt x="5095" y="10988"/>
                    </a:cubicBezTo>
                    <a:cubicBezTo>
                      <a:pt x="8424" y="14057"/>
                      <a:pt x="15082" y="12883"/>
                      <a:pt x="19848" y="16494"/>
                    </a:cubicBezTo>
                    <a:cubicBezTo>
                      <a:pt x="20929" y="17125"/>
                      <a:pt x="22098" y="17667"/>
                      <a:pt x="23268" y="17577"/>
                    </a:cubicBezTo>
                    <a:cubicBezTo>
                      <a:pt x="26058" y="17487"/>
                      <a:pt x="28397" y="15501"/>
                      <a:pt x="29025" y="12883"/>
                    </a:cubicBezTo>
                    <a:cubicBezTo>
                      <a:pt x="29566" y="10627"/>
                      <a:pt x="28487" y="8280"/>
                      <a:pt x="26328" y="7378"/>
                    </a:cubicBezTo>
                    <a:cubicBezTo>
                      <a:pt x="20389" y="4399"/>
                      <a:pt x="14992" y="1872"/>
                      <a:pt x="8873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41012D2D-B156-EB88-EEC5-DD77E50D2B96}"/>
                  </a:ext>
                </a:extLst>
              </p:cNvPr>
              <p:cNvSpPr/>
              <p:nvPr/>
            </p:nvSpPr>
            <p:spPr>
              <a:xfrm>
                <a:off x="2858230" y="4363391"/>
                <a:ext cx="22838" cy="18539"/>
              </a:xfrm>
              <a:custGeom>
                <a:avLst/>
                <a:gdLst>
                  <a:gd name="connsiteX0" fmla="*/ 8860 w 22838"/>
                  <a:gd name="connsiteY0" fmla="*/ 1899 h 18539"/>
                  <a:gd name="connsiteX1" fmla="*/ 9040 w 22838"/>
                  <a:gd name="connsiteY1" fmla="*/ 13091 h 18539"/>
                  <a:gd name="connsiteX2" fmla="*/ 20646 w 22838"/>
                  <a:gd name="connsiteY2" fmla="*/ 20313 h 18539"/>
                  <a:gd name="connsiteX3" fmla="*/ 8860 w 22838"/>
                  <a:gd name="connsiteY3" fmla="*/ 1899 h 1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38" h="18539">
                    <a:moveTo>
                      <a:pt x="8860" y="1899"/>
                    </a:moveTo>
                    <a:cubicBezTo>
                      <a:pt x="1842" y="1719"/>
                      <a:pt x="2202" y="13272"/>
                      <a:pt x="9040" y="13091"/>
                    </a:cubicBezTo>
                    <a:cubicBezTo>
                      <a:pt x="15337" y="12279"/>
                      <a:pt x="15427" y="20042"/>
                      <a:pt x="20646" y="20313"/>
                    </a:cubicBezTo>
                    <a:cubicBezTo>
                      <a:pt x="35940" y="16431"/>
                      <a:pt x="17947" y="185"/>
                      <a:pt x="8860" y="18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405713DA-1316-73D4-7828-1EC94FF0DD9A}"/>
                  </a:ext>
                </a:extLst>
              </p:cNvPr>
              <p:cNvSpPr/>
              <p:nvPr/>
            </p:nvSpPr>
            <p:spPr>
              <a:xfrm>
                <a:off x="2617905" y="4361080"/>
                <a:ext cx="22956" cy="13541"/>
              </a:xfrm>
              <a:custGeom>
                <a:avLst/>
                <a:gdLst>
                  <a:gd name="connsiteX0" fmla="*/ 17247 w 22956"/>
                  <a:gd name="connsiteY0" fmla="*/ 13779 h 13541"/>
                  <a:gd name="connsiteX1" fmla="*/ 26694 w 22956"/>
                  <a:gd name="connsiteY1" fmla="*/ 9536 h 13541"/>
                  <a:gd name="connsiteX2" fmla="*/ 9150 w 22956"/>
                  <a:gd name="connsiteY2" fmla="*/ 1774 h 13541"/>
                  <a:gd name="connsiteX3" fmla="*/ 9150 w 22956"/>
                  <a:gd name="connsiteY3" fmla="*/ 12966 h 13541"/>
                  <a:gd name="connsiteX4" fmla="*/ 17337 w 22956"/>
                  <a:gd name="connsiteY4" fmla="*/ 13779 h 13541"/>
                  <a:gd name="connsiteX5" fmla="*/ 17247 w 22956"/>
                  <a:gd name="connsiteY5" fmla="*/ 13779 h 13541"/>
                  <a:gd name="connsiteX6" fmla="*/ 17247 w 22956"/>
                  <a:gd name="connsiteY6" fmla="*/ 13779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56" h="13541">
                    <a:moveTo>
                      <a:pt x="17247" y="13779"/>
                    </a:moveTo>
                    <a:cubicBezTo>
                      <a:pt x="20757" y="17209"/>
                      <a:pt x="27054" y="14500"/>
                      <a:pt x="26694" y="9536"/>
                    </a:cubicBezTo>
                    <a:cubicBezTo>
                      <a:pt x="25525" y="1864"/>
                      <a:pt x="14907" y="1864"/>
                      <a:pt x="9150" y="1774"/>
                    </a:cubicBezTo>
                    <a:cubicBezTo>
                      <a:pt x="1953" y="1683"/>
                      <a:pt x="1953" y="13056"/>
                      <a:pt x="9150" y="12966"/>
                    </a:cubicBezTo>
                    <a:cubicBezTo>
                      <a:pt x="11850" y="12966"/>
                      <a:pt x="14817" y="12696"/>
                      <a:pt x="17337" y="13779"/>
                    </a:cubicBezTo>
                    <a:cubicBezTo>
                      <a:pt x="17337" y="13779"/>
                      <a:pt x="17337" y="13779"/>
                      <a:pt x="17247" y="13779"/>
                    </a:cubicBezTo>
                    <a:lnTo>
                      <a:pt x="17247" y="13779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98339EDE-34F2-0003-DE63-8AA4E5E27BA1}"/>
                  </a:ext>
                </a:extLst>
              </p:cNvPr>
              <p:cNvSpPr/>
              <p:nvPr/>
            </p:nvSpPr>
            <p:spPr>
              <a:xfrm>
                <a:off x="3119945" y="4291490"/>
                <a:ext cx="32635" cy="25367"/>
              </a:xfrm>
              <a:custGeom>
                <a:avLst/>
                <a:gdLst>
                  <a:gd name="connsiteX0" fmla="*/ 30543 w 32635"/>
                  <a:gd name="connsiteY0" fmla="*/ 1773 h 25367"/>
                  <a:gd name="connsiteX1" fmla="*/ 25955 w 32635"/>
                  <a:gd name="connsiteY1" fmla="*/ 4301 h 25367"/>
                  <a:gd name="connsiteX2" fmla="*/ 7691 w 32635"/>
                  <a:gd name="connsiteY2" fmla="*/ 16214 h 25367"/>
                  <a:gd name="connsiteX3" fmla="*/ 9042 w 32635"/>
                  <a:gd name="connsiteY3" fmla="*/ 27135 h 25367"/>
                  <a:gd name="connsiteX4" fmla="*/ 30543 w 32635"/>
                  <a:gd name="connsiteY4" fmla="*/ 1773 h 25367"/>
                  <a:gd name="connsiteX5" fmla="*/ 30543 w 32635"/>
                  <a:gd name="connsiteY5" fmla="*/ 1773 h 25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635" h="25367">
                    <a:moveTo>
                      <a:pt x="30543" y="1773"/>
                    </a:moveTo>
                    <a:cubicBezTo>
                      <a:pt x="28744" y="1773"/>
                      <a:pt x="26945" y="2675"/>
                      <a:pt x="25955" y="4301"/>
                    </a:cubicBezTo>
                    <a:cubicBezTo>
                      <a:pt x="21907" y="10077"/>
                      <a:pt x="15970" y="13958"/>
                      <a:pt x="7691" y="16214"/>
                    </a:cubicBezTo>
                    <a:cubicBezTo>
                      <a:pt x="1574" y="17478"/>
                      <a:pt x="3013" y="27135"/>
                      <a:pt x="9042" y="27135"/>
                    </a:cubicBezTo>
                    <a:cubicBezTo>
                      <a:pt x="17498" y="27497"/>
                      <a:pt x="49347" y="6917"/>
                      <a:pt x="30543" y="1773"/>
                    </a:cubicBezTo>
                    <a:lnTo>
                      <a:pt x="30543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14E9D10B-3A35-9EE4-C625-410AA0151BFA}"/>
                  </a:ext>
                </a:extLst>
              </p:cNvPr>
              <p:cNvSpPr/>
              <p:nvPr/>
            </p:nvSpPr>
            <p:spPr>
              <a:xfrm>
                <a:off x="2399194" y="4300878"/>
                <a:ext cx="15765" cy="15796"/>
              </a:xfrm>
              <a:custGeom>
                <a:avLst/>
                <a:gdLst>
                  <a:gd name="connsiteX0" fmla="*/ 14278 w 15765"/>
                  <a:gd name="connsiteY0" fmla="*/ 1773 h 15796"/>
                  <a:gd name="connsiteX1" fmla="*/ 3753 w 15765"/>
                  <a:gd name="connsiteY1" fmla="*/ 12152 h 15796"/>
                  <a:gd name="connsiteX2" fmla="*/ 14818 w 15765"/>
                  <a:gd name="connsiteY2" fmla="*/ 12875 h 15796"/>
                  <a:gd name="connsiteX3" fmla="*/ 14278 w 15765"/>
                  <a:gd name="connsiteY3" fmla="*/ 1773 h 15796"/>
                  <a:gd name="connsiteX4" fmla="*/ 14278 w 15765"/>
                  <a:gd name="connsiteY4" fmla="*/ 1773 h 1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65" h="15796">
                    <a:moveTo>
                      <a:pt x="14278" y="1773"/>
                    </a:moveTo>
                    <a:cubicBezTo>
                      <a:pt x="8609" y="1862"/>
                      <a:pt x="3930" y="6466"/>
                      <a:pt x="3753" y="12152"/>
                    </a:cubicBezTo>
                    <a:cubicBezTo>
                      <a:pt x="3663" y="18922"/>
                      <a:pt x="14008" y="19554"/>
                      <a:pt x="14818" y="12875"/>
                    </a:cubicBezTo>
                    <a:cubicBezTo>
                      <a:pt x="21476" y="12152"/>
                      <a:pt x="20846" y="1862"/>
                      <a:pt x="14278" y="1773"/>
                    </a:cubicBezTo>
                    <a:lnTo>
                      <a:pt x="1427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DA008408-845C-92F3-7F69-476A15806D27}"/>
                  </a:ext>
                </a:extLst>
              </p:cNvPr>
              <p:cNvSpPr/>
              <p:nvPr/>
            </p:nvSpPr>
            <p:spPr>
              <a:xfrm>
                <a:off x="2764206" y="4257553"/>
                <a:ext cx="25371" cy="18422"/>
              </a:xfrm>
              <a:custGeom>
                <a:avLst/>
                <a:gdLst>
                  <a:gd name="connsiteX0" fmla="*/ 9588 w 25371"/>
                  <a:gd name="connsiteY0" fmla="*/ 1773 h 18422"/>
                  <a:gd name="connsiteX1" fmla="*/ 23982 w 25371"/>
                  <a:gd name="connsiteY1" fmla="*/ 20096 h 18422"/>
                  <a:gd name="connsiteX2" fmla="*/ 23801 w 25371"/>
                  <a:gd name="connsiteY2" fmla="*/ 8904 h 18422"/>
                  <a:gd name="connsiteX3" fmla="*/ 9588 w 25371"/>
                  <a:gd name="connsiteY3" fmla="*/ 1773 h 18422"/>
                  <a:gd name="connsiteX4" fmla="*/ 9588 w 25371"/>
                  <a:gd name="connsiteY4" fmla="*/ 1773 h 1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71" h="18422">
                    <a:moveTo>
                      <a:pt x="9588" y="1773"/>
                    </a:moveTo>
                    <a:cubicBezTo>
                      <a:pt x="-7237" y="6917"/>
                      <a:pt x="16964" y="21539"/>
                      <a:pt x="23982" y="20096"/>
                    </a:cubicBezTo>
                    <a:cubicBezTo>
                      <a:pt x="31089" y="20277"/>
                      <a:pt x="30639" y="8814"/>
                      <a:pt x="23801" y="8904"/>
                    </a:cubicBezTo>
                    <a:cubicBezTo>
                      <a:pt x="17594" y="9264"/>
                      <a:pt x="14985" y="2585"/>
                      <a:pt x="9588" y="1773"/>
                    </a:cubicBezTo>
                    <a:lnTo>
                      <a:pt x="958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845FF083-C1A8-CBEB-6073-64E7A057C0AC}"/>
                  </a:ext>
                </a:extLst>
              </p:cNvPr>
              <p:cNvSpPr/>
              <p:nvPr/>
            </p:nvSpPr>
            <p:spPr>
              <a:xfrm>
                <a:off x="3004505" y="4252676"/>
                <a:ext cx="13588" cy="16002"/>
              </a:xfrm>
              <a:custGeom>
                <a:avLst/>
                <a:gdLst>
                  <a:gd name="connsiteX0" fmla="*/ 11842 w 13588"/>
                  <a:gd name="connsiteY0" fmla="*/ 1775 h 16002"/>
                  <a:gd name="connsiteX1" fmla="*/ 6083 w 13588"/>
                  <a:gd name="connsiteY1" fmla="*/ 7642 h 16002"/>
                  <a:gd name="connsiteX2" fmla="*/ 9323 w 13588"/>
                  <a:gd name="connsiteY2" fmla="*/ 17751 h 16002"/>
                  <a:gd name="connsiteX3" fmla="*/ 11842 w 13588"/>
                  <a:gd name="connsiteY3" fmla="*/ 1775 h 16002"/>
                  <a:gd name="connsiteX4" fmla="*/ 11842 w 13588"/>
                  <a:gd name="connsiteY4" fmla="*/ 1775 h 1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88" h="16002">
                    <a:moveTo>
                      <a:pt x="11842" y="1775"/>
                    </a:moveTo>
                    <a:cubicBezTo>
                      <a:pt x="8783" y="1685"/>
                      <a:pt x="5903" y="4483"/>
                      <a:pt x="6083" y="7642"/>
                    </a:cubicBezTo>
                    <a:cubicBezTo>
                      <a:pt x="1585" y="10441"/>
                      <a:pt x="4104" y="17842"/>
                      <a:pt x="9323" y="17751"/>
                    </a:cubicBezTo>
                    <a:cubicBezTo>
                      <a:pt x="17689" y="18473"/>
                      <a:pt x="21019" y="2678"/>
                      <a:pt x="11842" y="1775"/>
                    </a:cubicBezTo>
                    <a:lnTo>
                      <a:pt x="11842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2844EE5A-BBFE-5950-5DA9-DFE16A888C96}"/>
                  </a:ext>
                </a:extLst>
              </p:cNvPr>
              <p:cNvSpPr/>
              <p:nvPr/>
            </p:nvSpPr>
            <p:spPr>
              <a:xfrm>
                <a:off x="2526675" y="4221233"/>
                <a:ext cx="15834" cy="13647"/>
              </a:xfrm>
              <a:custGeom>
                <a:avLst/>
                <a:gdLst>
                  <a:gd name="connsiteX0" fmla="*/ 9152 w 15834"/>
                  <a:gd name="connsiteY0" fmla="*/ 1898 h 13647"/>
                  <a:gd name="connsiteX1" fmla="*/ 9422 w 15834"/>
                  <a:gd name="connsiteY1" fmla="*/ 13000 h 13647"/>
                  <a:gd name="connsiteX2" fmla="*/ 17881 w 15834"/>
                  <a:gd name="connsiteY2" fmla="*/ 13812 h 13647"/>
                  <a:gd name="connsiteX3" fmla="*/ 9152 w 15834"/>
                  <a:gd name="connsiteY3" fmla="*/ 1898 h 13647"/>
                  <a:gd name="connsiteX4" fmla="*/ 9152 w 15834"/>
                  <a:gd name="connsiteY4" fmla="*/ 1898 h 13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34" h="13647">
                    <a:moveTo>
                      <a:pt x="9152" y="1898"/>
                    </a:moveTo>
                    <a:cubicBezTo>
                      <a:pt x="1686" y="1898"/>
                      <a:pt x="2136" y="13452"/>
                      <a:pt x="9422" y="13000"/>
                    </a:cubicBezTo>
                    <a:cubicBezTo>
                      <a:pt x="11223" y="15979"/>
                      <a:pt x="15542" y="16159"/>
                      <a:pt x="17881" y="13812"/>
                    </a:cubicBezTo>
                    <a:cubicBezTo>
                      <a:pt x="23007" y="8036"/>
                      <a:pt x="15542" y="725"/>
                      <a:pt x="9152" y="1898"/>
                    </a:cubicBezTo>
                    <a:lnTo>
                      <a:pt x="9152" y="189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7BE07542-19D9-28C9-FE61-A16506C42E65}"/>
                  </a:ext>
                </a:extLst>
              </p:cNvPr>
              <p:cNvSpPr/>
              <p:nvPr/>
            </p:nvSpPr>
            <p:spPr>
              <a:xfrm>
                <a:off x="3184581" y="4168373"/>
                <a:ext cx="12896" cy="44673"/>
              </a:xfrm>
              <a:custGeom>
                <a:avLst/>
                <a:gdLst>
                  <a:gd name="connsiteX0" fmla="*/ 9993 w 12896"/>
                  <a:gd name="connsiteY0" fmla="*/ 1776 h 44673"/>
                  <a:gd name="connsiteX1" fmla="*/ 3964 w 12896"/>
                  <a:gd name="connsiteY1" fmla="*/ 8817 h 44673"/>
                  <a:gd name="connsiteX2" fmla="*/ 3964 w 12896"/>
                  <a:gd name="connsiteY2" fmla="*/ 39595 h 44673"/>
                  <a:gd name="connsiteX3" fmla="*/ 14759 w 12896"/>
                  <a:gd name="connsiteY3" fmla="*/ 42484 h 44673"/>
                  <a:gd name="connsiteX4" fmla="*/ 14759 w 12896"/>
                  <a:gd name="connsiteY4" fmla="*/ 5838 h 44673"/>
                  <a:gd name="connsiteX5" fmla="*/ 9993 w 12896"/>
                  <a:gd name="connsiteY5" fmla="*/ 1776 h 4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96" h="44673">
                    <a:moveTo>
                      <a:pt x="9993" y="1776"/>
                    </a:moveTo>
                    <a:cubicBezTo>
                      <a:pt x="6483" y="1776"/>
                      <a:pt x="3155" y="5116"/>
                      <a:pt x="3964" y="8817"/>
                    </a:cubicBezTo>
                    <a:cubicBezTo>
                      <a:pt x="6123" y="20190"/>
                      <a:pt x="6123" y="30299"/>
                      <a:pt x="3964" y="39595"/>
                    </a:cubicBezTo>
                    <a:cubicBezTo>
                      <a:pt x="2075" y="46185"/>
                      <a:pt x="13411" y="49614"/>
                      <a:pt x="14759" y="42484"/>
                    </a:cubicBezTo>
                    <a:cubicBezTo>
                      <a:pt x="17279" y="31472"/>
                      <a:pt x="17279" y="19467"/>
                      <a:pt x="14759" y="5838"/>
                    </a:cubicBezTo>
                    <a:cubicBezTo>
                      <a:pt x="14401" y="3491"/>
                      <a:pt x="12422" y="1686"/>
                      <a:pt x="9993" y="17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1320F5C1-B855-89AD-3954-21EB0A0CD3AB}"/>
                  </a:ext>
                </a:extLst>
              </p:cNvPr>
              <p:cNvSpPr/>
              <p:nvPr/>
            </p:nvSpPr>
            <p:spPr>
              <a:xfrm>
                <a:off x="2322462" y="4197258"/>
                <a:ext cx="25208" cy="13261"/>
              </a:xfrm>
              <a:custGeom>
                <a:avLst/>
                <a:gdLst>
                  <a:gd name="connsiteX0" fmla="*/ 9139 w 25208"/>
                  <a:gd name="connsiteY0" fmla="*/ 1774 h 13261"/>
                  <a:gd name="connsiteX1" fmla="*/ 9229 w 25208"/>
                  <a:gd name="connsiteY1" fmla="*/ 12876 h 13261"/>
                  <a:gd name="connsiteX2" fmla="*/ 28573 w 25208"/>
                  <a:gd name="connsiteY2" fmla="*/ 12154 h 13261"/>
                  <a:gd name="connsiteX3" fmla="*/ 9139 w 25208"/>
                  <a:gd name="connsiteY3" fmla="*/ 1774 h 13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208" h="13261">
                    <a:moveTo>
                      <a:pt x="9139" y="1774"/>
                    </a:moveTo>
                    <a:cubicBezTo>
                      <a:pt x="1853" y="1683"/>
                      <a:pt x="2031" y="13056"/>
                      <a:pt x="9229" y="12876"/>
                    </a:cubicBezTo>
                    <a:cubicBezTo>
                      <a:pt x="15976" y="11251"/>
                      <a:pt x="25153" y="19013"/>
                      <a:pt x="28573" y="12154"/>
                    </a:cubicBezTo>
                    <a:cubicBezTo>
                      <a:pt x="31631" y="1864"/>
                      <a:pt x="15796" y="2135"/>
                      <a:pt x="9139" y="17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2" name="Freeform: Shape 401">
                <a:extLst>
                  <a:ext uri="{FF2B5EF4-FFF2-40B4-BE49-F238E27FC236}">
                    <a16:creationId xmlns:a16="http://schemas.microsoft.com/office/drawing/2014/main" id="{4AB3675F-CF2D-939B-7C56-C649D6F25455}"/>
                  </a:ext>
                </a:extLst>
              </p:cNvPr>
              <p:cNvSpPr/>
              <p:nvPr/>
            </p:nvSpPr>
            <p:spPr>
              <a:xfrm>
                <a:off x="2622617" y="4168522"/>
                <a:ext cx="13547" cy="23099"/>
              </a:xfrm>
              <a:custGeom>
                <a:avLst/>
                <a:gdLst>
                  <a:gd name="connsiteX0" fmla="*/ 11637 w 13547"/>
                  <a:gd name="connsiteY0" fmla="*/ 1807 h 23099"/>
                  <a:gd name="connsiteX1" fmla="*/ 4439 w 13547"/>
                  <a:gd name="connsiteY1" fmla="*/ 16429 h 23099"/>
                  <a:gd name="connsiteX2" fmla="*/ 6418 w 13547"/>
                  <a:gd name="connsiteY2" fmla="*/ 24011 h 23099"/>
                  <a:gd name="connsiteX3" fmla="*/ 11637 w 13547"/>
                  <a:gd name="connsiteY3" fmla="*/ 1807 h 23099"/>
                  <a:gd name="connsiteX4" fmla="*/ 11637 w 13547"/>
                  <a:gd name="connsiteY4" fmla="*/ 1807 h 23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47" h="23099">
                    <a:moveTo>
                      <a:pt x="11637" y="1807"/>
                    </a:moveTo>
                    <a:cubicBezTo>
                      <a:pt x="3358" y="1897"/>
                      <a:pt x="7676" y="11555"/>
                      <a:pt x="4439" y="16429"/>
                    </a:cubicBezTo>
                    <a:cubicBezTo>
                      <a:pt x="3000" y="19047"/>
                      <a:pt x="3898" y="22387"/>
                      <a:pt x="6418" y="24011"/>
                    </a:cubicBezTo>
                    <a:cubicBezTo>
                      <a:pt x="16315" y="30239"/>
                      <a:pt x="22342" y="634"/>
                      <a:pt x="11637" y="1807"/>
                    </a:cubicBezTo>
                    <a:lnTo>
                      <a:pt x="11637" y="1807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63749234-7A23-2F3D-DC97-07586F8ADF4D}"/>
                  </a:ext>
                </a:extLst>
              </p:cNvPr>
              <p:cNvSpPr/>
              <p:nvPr/>
            </p:nvSpPr>
            <p:spPr>
              <a:xfrm>
                <a:off x="3011734" y="4137089"/>
                <a:ext cx="27782" cy="12893"/>
              </a:xfrm>
              <a:custGeom>
                <a:avLst/>
                <a:gdLst>
                  <a:gd name="connsiteX0" fmla="*/ 9111 w 27782"/>
                  <a:gd name="connsiteY0" fmla="*/ 1830 h 12893"/>
                  <a:gd name="connsiteX1" fmla="*/ 4073 w 27782"/>
                  <a:gd name="connsiteY1" fmla="*/ 9141 h 12893"/>
                  <a:gd name="connsiteX2" fmla="*/ 30883 w 27782"/>
                  <a:gd name="connsiteY2" fmla="*/ 4447 h 12893"/>
                  <a:gd name="connsiteX3" fmla="*/ 23237 w 27782"/>
                  <a:gd name="connsiteY3" fmla="*/ 2462 h 12893"/>
                  <a:gd name="connsiteX4" fmla="*/ 9111 w 27782"/>
                  <a:gd name="connsiteY4" fmla="*/ 1830 h 1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82" h="12893">
                    <a:moveTo>
                      <a:pt x="9111" y="1830"/>
                    </a:moveTo>
                    <a:cubicBezTo>
                      <a:pt x="5421" y="1559"/>
                      <a:pt x="2814" y="5711"/>
                      <a:pt x="4073" y="9141"/>
                    </a:cubicBezTo>
                    <a:cubicBezTo>
                      <a:pt x="7402" y="17355"/>
                      <a:pt x="36192" y="16903"/>
                      <a:pt x="30883" y="4447"/>
                    </a:cubicBezTo>
                    <a:cubicBezTo>
                      <a:pt x="29444" y="1740"/>
                      <a:pt x="25844" y="1108"/>
                      <a:pt x="23237" y="2462"/>
                    </a:cubicBezTo>
                    <a:cubicBezTo>
                      <a:pt x="18558" y="4809"/>
                      <a:pt x="13790" y="2823"/>
                      <a:pt x="9111" y="18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57A7E5C7-A9A8-D5D0-8D88-AAB28522498F}"/>
                  </a:ext>
                </a:extLst>
              </p:cNvPr>
              <p:cNvSpPr/>
              <p:nvPr/>
            </p:nvSpPr>
            <p:spPr>
              <a:xfrm>
                <a:off x="2845981" y="4120150"/>
                <a:ext cx="18253" cy="18369"/>
              </a:xfrm>
              <a:custGeom>
                <a:avLst/>
                <a:gdLst>
                  <a:gd name="connsiteX0" fmla="*/ 16430 w 18253"/>
                  <a:gd name="connsiteY0" fmla="*/ 1801 h 18369"/>
                  <a:gd name="connsiteX1" fmla="*/ 5364 w 18253"/>
                  <a:gd name="connsiteY1" fmla="*/ 10646 h 18369"/>
                  <a:gd name="connsiteX2" fmla="*/ 9412 w 18253"/>
                  <a:gd name="connsiteY2" fmla="*/ 20123 h 18369"/>
                  <a:gd name="connsiteX3" fmla="*/ 20390 w 18253"/>
                  <a:gd name="connsiteY3" fmla="*/ 11277 h 18369"/>
                  <a:gd name="connsiteX4" fmla="*/ 16430 w 18253"/>
                  <a:gd name="connsiteY4" fmla="*/ 1801 h 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" h="18369">
                    <a:moveTo>
                      <a:pt x="16430" y="1801"/>
                    </a:moveTo>
                    <a:cubicBezTo>
                      <a:pt x="12922" y="1259"/>
                      <a:pt x="7703" y="8840"/>
                      <a:pt x="5364" y="10646"/>
                    </a:cubicBezTo>
                    <a:cubicBezTo>
                      <a:pt x="1856" y="13986"/>
                      <a:pt x="4466" y="20303"/>
                      <a:pt x="9412" y="20123"/>
                    </a:cubicBezTo>
                    <a:cubicBezTo>
                      <a:pt x="12832" y="20574"/>
                      <a:pt x="18051" y="13083"/>
                      <a:pt x="20390" y="11277"/>
                    </a:cubicBezTo>
                    <a:cubicBezTo>
                      <a:pt x="23898" y="7847"/>
                      <a:pt x="21289" y="1620"/>
                      <a:pt x="16430" y="18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9167A5E1-9CD8-8732-65AB-0611D65F7BFB}"/>
                  </a:ext>
                </a:extLst>
              </p:cNvPr>
              <p:cNvSpPr/>
              <p:nvPr/>
            </p:nvSpPr>
            <p:spPr>
              <a:xfrm>
                <a:off x="3242394" y="4083982"/>
                <a:ext cx="20596" cy="13513"/>
              </a:xfrm>
              <a:custGeom>
                <a:avLst/>
                <a:gdLst>
                  <a:gd name="connsiteX0" fmla="*/ 14977 w 20596"/>
                  <a:gd name="connsiteY0" fmla="*/ 13868 h 13513"/>
                  <a:gd name="connsiteX1" fmla="*/ 24334 w 20596"/>
                  <a:gd name="connsiteY1" fmla="*/ 9536 h 13513"/>
                  <a:gd name="connsiteX2" fmla="*/ 9218 w 20596"/>
                  <a:gd name="connsiteY2" fmla="*/ 1774 h 13513"/>
                  <a:gd name="connsiteX3" fmla="*/ 9218 w 20596"/>
                  <a:gd name="connsiteY3" fmla="*/ 12966 h 13513"/>
                  <a:gd name="connsiteX4" fmla="*/ 12548 w 20596"/>
                  <a:gd name="connsiteY4" fmla="*/ 13056 h 13513"/>
                  <a:gd name="connsiteX5" fmla="*/ 14437 w 20596"/>
                  <a:gd name="connsiteY5" fmla="*/ 13507 h 13513"/>
                  <a:gd name="connsiteX6" fmla="*/ 14437 w 20596"/>
                  <a:gd name="connsiteY6" fmla="*/ 13507 h 13513"/>
                  <a:gd name="connsiteX7" fmla="*/ 14437 w 20596"/>
                  <a:gd name="connsiteY7" fmla="*/ 13507 h 13513"/>
                  <a:gd name="connsiteX8" fmla="*/ 14617 w 20596"/>
                  <a:gd name="connsiteY8" fmla="*/ 13597 h 13513"/>
                  <a:gd name="connsiteX9" fmla="*/ 14977 w 20596"/>
                  <a:gd name="connsiteY9" fmla="*/ 13868 h 13513"/>
                  <a:gd name="connsiteX10" fmla="*/ 14977 w 20596"/>
                  <a:gd name="connsiteY10" fmla="*/ 13868 h 1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96" h="13513">
                    <a:moveTo>
                      <a:pt x="14977" y="13868"/>
                    </a:moveTo>
                    <a:cubicBezTo>
                      <a:pt x="18485" y="17117"/>
                      <a:pt x="24692" y="14410"/>
                      <a:pt x="24334" y="9536"/>
                    </a:cubicBezTo>
                    <a:cubicBezTo>
                      <a:pt x="23524" y="2676"/>
                      <a:pt x="14167" y="1774"/>
                      <a:pt x="9218" y="1774"/>
                    </a:cubicBezTo>
                    <a:cubicBezTo>
                      <a:pt x="1930" y="1683"/>
                      <a:pt x="1930" y="13056"/>
                      <a:pt x="9218" y="12966"/>
                    </a:cubicBezTo>
                    <a:cubicBezTo>
                      <a:pt x="10209" y="12875"/>
                      <a:pt x="11557" y="12966"/>
                      <a:pt x="12548" y="13056"/>
                    </a:cubicBezTo>
                    <a:cubicBezTo>
                      <a:pt x="13176" y="13146"/>
                      <a:pt x="13806" y="13327"/>
                      <a:pt x="14437" y="13507"/>
                    </a:cubicBezTo>
                    <a:lnTo>
                      <a:pt x="14437" y="13507"/>
                    </a:lnTo>
                    <a:lnTo>
                      <a:pt x="14437" y="13507"/>
                    </a:lnTo>
                    <a:cubicBezTo>
                      <a:pt x="14527" y="13507"/>
                      <a:pt x="14527" y="13507"/>
                      <a:pt x="14617" y="13597"/>
                    </a:cubicBezTo>
                    <a:cubicBezTo>
                      <a:pt x="14797" y="13687"/>
                      <a:pt x="15425" y="14229"/>
                      <a:pt x="14977" y="13868"/>
                    </a:cubicBezTo>
                    <a:lnTo>
                      <a:pt x="14977" y="1386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9D5CDE85-90A3-FF7B-DC14-BDD1840BC79C}"/>
                  </a:ext>
                </a:extLst>
              </p:cNvPr>
              <p:cNvSpPr/>
              <p:nvPr/>
            </p:nvSpPr>
            <p:spPr>
              <a:xfrm>
                <a:off x="3136549" y="4062391"/>
                <a:ext cx="25593" cy="18162"/>
              </a:xfrm>
              <a:custGeom>
                <a:avLst/>
                <a:gdLst>
                  <a:gd name="connsiteX0" fmla="*/ 9531 w 25593"/>
                  <a:gd name="connsiteY0" fmla="*/ 1792 h 18162"/>
                  <a:gd name="connsiteX1" fmla="*/ 6561 w 25593"/>
                  <a:gd name="connsiteY1" fmla="*/ 12082 h 18162"/>
                  <a:gd name="connsiteX2" fmla="*/ 23566 w 25593"/>
                  <a:gd name="connsiteY2" fmla="*/ 19935 h 18162"/>
                  <a:gd name="connsiteX3" fmla="*/ 26536 w 25593"/>
                  <a:gd name="connsiteY3" fmla="*/ 9645 h 18162"/>
                  <a:gd name="connsiteX4" fmla="*/ 9531 w 25593"/>
                  <a:gd name="connsiteY4" fmla="*/ 1792 h 18162"/>
                  <a:gd name="connsiteX5" fmla="*/ 9531 w 25593"/>
                  <a:gd name="connsiteY5" fmla="*/ 1792 h 18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593" h="18162">
                    <a:moveTo>
                      <a:pt x="9531" y="1792"/>
                    </a:moveTo>
                    <a:cubicBezTo>
                      <a:pt x="4312" y="1702"/>
                      <a:pt x="1165" y="9735"/>
                      <a:pt x="6561" y="12082"/>
                    </a:cubicBezTo>
                    <a:cubicBezTo>
                      <a:pt x="11330" y="14067"/>
                      <a:pt x="18438" y="18942"/>
                      <a:pt x="23566" y="19935"/>
                    </a:cubicBezTo>
                    <a:cubicBezTo>
                      <a:pt x="28785" y="20025"/>
                      <a:pt x="31933" y="12082"/>
                      <a:pt x="26536" y="9645"/>
                    </a:cubicBezTo>
                    <a:cubicBezTo>
                      <a:pt x="24735" y="9013"/>
                      <a:pt x="11330" y="1340"/>
                      <a:pt x="9531" y="1792"/>
                    </a:cubicBezTo>
                    <a:lnTo>
                      <a:pt x="9531" y="1792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CFE34562-1595-1DF7-678E-B6E42E20CAFB}"/>
                  </a:ext>
                </a:extLst>
              </p:cNvPr>
              <p:cNvSpPr/>
              <p:nvPr/>
            </p:nvSpPr>
            <p:spPr>
              <a:xfrm>
                <a:off x="2473529" y="4031171"/>
                <a:ext cx="13660" cy="32420"/>
              </a:xfrm>
              <a:custGeom>
                <a:avLst/>
                <a:gdLst>
                  <a:gd name="connsiteX0" fmla="*/ 11827 w 13660"/>
                  <a:gd name="connsiteY0" fmla="*/ 1784 h 32420"/>
                  <a:gd name="connsiteX1" fmla="*/ 6248 w 13660"/>
                  <a:gd name="connsiteY1" fmla="*/ 6747 h 32420"/>
                  <a:gd name="connsiteX2" fmla="*/ 4089 w 13660"/>
                  <a:gd name="connsiteY2" fmla="*/ 27327 h 32420"/>
                  <a:gd name="connsiteX3" fmla="*/ 9578 w 13660"/>
                  <a:gd name="connsiteY3" fmla="*/ 34187 h 32420"/>
                  <a:gd name="connsiteX4" fmla="*/ 14797 w 13660"/>
                  <a:gd name="connsiteY4" fmla="*/ 30305 h 32420"/>
                  <a:gd name="connsiteX5" fmla="*/ 17404 w 13660"/>
                  <a:gd name="connsiteY5" fmla="*/ 7199 h 32420"/>
                  <a:gd name="connsiteX6" fmla="*/ 11827 w 13660"/>
                  <a:gd name="connsiteY6" fmla="*/ 1784 h 32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60" h="32420">
                    <a:moveTo>
                      <a:pt x="11827" y="1784"/>
                    </a:moveTo>
                    <a:cubicBezTo>
                      <a:pt x="8948" y="1603"/>
                      <a:pt x="6428" y="3769"/>
                      <a:pt x="6248" y="6747"/>
                    </a:cubicBezTo>
                    <a:cubicBezTo>
                      <a:pt x="6248" y="13968"/>
                      <a:pt x="6158" y="20648"/>
                      <a:pt x="4089" y="27327"/>
                    </a:cubicBezTo>
                    <a:cubicBezTo>
                      <a:pt x="2650" y="30847"/>
                      <a:pt x="6068" y="34367"/>
                      <a:pt x="9578" y="34187"/>
                    </a:cubicBezTo>
                    <a:cubicBezTo>
                      <a:pt x="12007" y="34277"/>
                      <a:pt x="14167" y="32652"/>
                      <a:pt x="14797" y="30305"/>
                    </a:cubicBezTo>
                    <a:cubicBezTo>
                      <a:pt x="17226" y="22543"/>
                      <a:pt x="17404" y="14600"/>
                      <a:pt x="17404" y="7199"/>
                    </a:cubicBezTo>
                    <a:cubicBezTo>
                      <a:pt x="17584" y="4130"/>
                      <a:pt x="14797" y="1603"/>
                      <a:pt x="11827" y="17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88674B4E-8C6D-1428-FEB9-5557273762A1}"/>
                  </a:ext>
                </a:extLst>
              </p:cNvPr>
              <p:cNvSpPr/>
              <p:nvPr/>
            </p:nvSpPr>
            <p:spPr>
              <a:xfrm>
                <a:off x="2653983" y="4009124"/>
                <a:ext cx="22942" cy="11438"/>
              </a:xfrm>
              <a:custGeom>
                <a:avLst/>
                <a:gdLst>
                  <a:gd name="connsiteX0" fmla="*/ 9150 w 22942"/>
                  <a:gd name="connsiteY0" fmla="*/ 1896 h 11438"/>
                  <a:gd name="connsiteX1" fmla="*/ 9150 w 22942"/>
                  <a:gd name="connsiteY1" fmla="*/ 13088 h 11438"/>
                  <a:gd name="connsiteX2" fmla="*/ 26694 w 22942"/>
                  <a:gd name="connsiteY2" fmla="*/ 7492 h 11438"/>
                  <a:gd name="connsiteX3" fmla="*/ 9150 w 22942"/>
                  <a:gd name="connsiteY3" fmla="*/ 1896 h 11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42" h="11438">
                    <a:moveTo>
                      <a:pt x="9150" y="1896"/>
                    </a:moveTo>
                    <a:cubicBezTo>
                      <a:pt x="1953" y="1806"/>
                      <a:pt x="1953" y="13179"/>
                      <a:pt x="9150" y="13088"/>
                    </a:cubicBezTo>
                    <a:cubicBezTo>
                      <a:pt x="13919" y="12457"/>
                      <a:pt x="26784" y="15706"/>
                      <a:pt x="26694" y="7492"/>
                    </a:cubicBezTo>
                    <a:cubicBezTo>
                      <a:pt x="26784" y="-722"/>
                      <a:pt x="13919" y="2528"/>
                      <a:pt x="9150" y="18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D1D970C0-4216-42EB-F785-084E60FEB0BD}"/>
                  </a:ext>
                </a:extLst>
              </p:cNvPr>
              <p:cNvSpPr/>
              <p:nvPr/>
            </p:nvSpPr>
            <p:spPr>
              <a:xfrm>
                <a:off x="2346203" y="3980274"/>
                <a:ext cx="30179" cy="20849"/>
              </a:xfrm>
              <a:custGeom>
                <a:avLst/>
                <a:gdLst>
                  <a:gd name="connsiteX0" fmla="*/ 29033 w 30179"/>
                  <a:gd name="connsiteY0" fmla="*/ 1773 h 20849"/>
                  <a:gd name="connsiteX1" fmla="*/ 9688 w 30179"/>
                  <a:gd name="connsiteY1" fmla="*/ 22622 h 20849"/>
                  <a:gd name="connsiteX2" fmla="*/ 13379 w 30179"/>
                  <a:gd name="connsiteY2" fmla="*/ 20998 h 20849"/>
                  <a:gd name="connsiteX3" fmla="*/ 30201 w 30179"/>
                  <a:gd name="connsiteY3" fmla="*/ 12784 h 20849"/>
                  <a:gd name="connsiteX4" fmla="*/ 29033 w 30179"/>
                  <a:gd name="connsiteY4" fmla="*/ 1773 h 20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79" h="20849">
                    <a:moveTo>
                      <a:pt x="29033" y="1773"/>
                    </a:moveTo>
                    <a:cubicBezTo>
                      <a:pt x="21835" y="2585"/>
                      <a:pt x="-9023" y="15582"/>
                      <a:pt x="9688" y="22622"/>
                    </a:cubicBezTo>
                    <a:cubicBezTo>
                      <a:pt x="11039" y="22532"/>
                      <a:pt x="12388" y="21991"/>
                      <a:pt x="13379" y="20998"/>
                    </a:cubicBezTo>
                    <a:cubicBezTo>
                      <a:pt x="17967" y="16666"/>
                      <a:pt x="24264" y="14770"/>
                      <a:pt x="30201" y="12784"/>
                    </a:cubicBezTo>
                    <a:cubicBezTo>
                      <a:pt x="35690" y="11340"/>
                      <a:pt x="34970" y="1773"/>
                      <a:pt x="2903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864497EB-37A9-C1AE-6B90-27FB124A6896}"/>
                  </a:ext>
                </a:extLst>
              </p:cNvPr>
              <p:cNvSpPr/>
              <p:nvPr/>
            </p:nvSpPr>
            <p:spPr>
              <a:xfrm>
                <a:off x="2795471" y="3963666"/>
                <a:ext cx="15856" cy="23107"/>
              </a:xfrm>
              <a:custGeom>
                <a:avLst/>
                <a:gdLst>
                  <a:gd name="connsiteX0" fmla="*/ 9182 w 15856"/>
                  <a:gd name="connsiteY0" fmla="*/ 1773 h 23107"/>
                  <a:gd name="connsiteX1" fmla="*/ 13950 w 15856"/>
                  <a:gd name="connsiteY1" fmla="*/ 24880 h 23107"/>
                  <a:gd name="connsiteX2" fmla="*/ 18088 w 15856"/>
                  <a:gd name="connsiteY2" fmla="*/ 15312 h 23107"/>
                  <a:gd name="connsiteX3" fmla="*/ 9182 w 15856"/>
                  <a:gd name="connsiteY3" fmla="*/ 1773 h 23107"/>
                  <a:gd name="connsiteX4" fmla="*/ 9182 w 15856"/>
                  <a:gd name="connsiteY4" fmla="*/ 1773 h 23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56" h="23107">
                    <a:moveTo>
                      <a:pt x="9182" y="1773"/>
                    </a:moveTo>
                    <a:cubicBezTo>
                      <a:pt x="-2064" y="2225"/>
                      <a:pt x="6482" y="24249"/>
                      <a:pt x="13950" y="24880"/>
                    </a:cubicBezTo>
                    <a:cubicBezTo>
                      <a:pt x="18539" y="24880"/>
                      <a:pt x="21596" y="18652"/>
                      <a:pt x="18088" y="15312"/>
                    </a:cubicBezTo>
                    <a:cubicBezTo>
                      <a:pt x="13590" y="11431"/>
                      <a:pt x="16920" y="1773"/>
                      <a:pt x="9182" y="1773"/>
                    </a:cubicBezTo>
                    <a:lnTo>
                      <a:pt x="918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8BE1669D-1B1E-5CDF-C73B-C46D8C09BB70}"/>
                  </a:ext>
                </a:extLst>
              </p:cNvPr>
              <p:cNvSpPr/>
              <p:nvPr/>
            </p:nvSpPr>
            <p:spPr>
              <a:xfrm>
                <a:off x="3028563" y="3965919"/>
                <a:ext cx="15768" cy="18334"/>
              </a:xfrm>
              <a:custGeom>
                <a:avLst/>
                <a:gdLst>
                  <a:gd name="connsiteX0" fmla="*/ 9196 w 15768"/>
                  <a:gd name="connsiteY0" fmla="*/ 1776 h 18334"/>
                  <a:gd name="connsiteX1" fmla="*/ 5598 w 15768"/>
                  <a:gd name="connsiteY1" fmla="*/ 11616 h 18334"/>
                  <a:gd name="connsiteX2" fmla="*/ 14054 w 15768"/>
                  <a:gd name="connsiteY2" fmla="*/ 20099 h 18334"/>
                  <a:gd name="connsiteX3" fmla="*/ 17654 w 15768"/>
                  <a:gd name="connsiteY3" fmla="*/ 10352 h 18334"/>
                  <a:gd name="connsiteX4" fmla="*/ 9196 w 15768"/>
                  <a:gd name="connsiteY4" fmla="*/ 1776 h 18334"/>
                  <a:gd name="connsiteX5" fmla="*/ 9196 w 15768"/>
                  <a:gd name="connsiteY5" fmla="*/ 1776 h 1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68" h="18334">
                    <a:moveTo>
                      <a:pt x="9196" y="1776"/>
                    </a:moveTo>
                    <a:cubicBezTo>
                      <a:pt x="4249" y="1597"/>
                      <a:pt x="1820" y="8457"/>
                      <a:pt x="5598" y="11616"/>
                    </a:cubicBezTo>
                    <a:cubicBezTo>
                      <a:pt x="7757" y="14955"/>
                      <a:pt x="9376" y="20190"/>
                      <a:pt x="14054" y="20099"/>
                    </a:cubicBezTo>
                    <a:cubicBezTo>
                      <a:pt x="19093" y="20371"/>
                      <a:pt x="21432" y="13420"/>
                      <a:pt x="17654" y="10352"/>
                    </a:cubicBezTo>
                    <a:cubicBezTo>
                      <a:pt x="15583" y="7012"/>
                      <a:pt x="13874" y="1776"/>
                      <a:pt x="9196" y="1776"/>
                    </a:cubicBezTo>
                    <a:lnTo>
                      <a:pt x="9196" y="1776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852E5FEA-BB62-9907-9867-2678EEFF9513}"/>
                  </a:ext>
                </a:extLst>
              </p:cNvPr>
              <p:cNvSpPr/>
              <p:nvPr/>
            </p:nvSpPr>
            <p:spPr>
              <a:xfrm>
                <a:off x="2565107" y="3910323"/>
                <a:ext cx="29895" cy="21120"/>
              </a:xfrm>
              <a:custGeom>
                <a:avLst/>
                <a:gdLst>
                  <a:gd name="connsiteX0" fmla="*/ 28752 w 29895"/>
                  <a:gd name="connsiteY0" fmla="*/ 1773 h 21120"/>
                  <a:gd name="connsiteX1" fmla="*/ 4010 w 29895"/>
                  <a:gd name="connsiteY1" fmla="*/ 15312 h 21120"/>
                  <a:gd name="connsiteX2" fmla="*/ 9047 w 29895"/>
                  <a:gd name="connsiteY2" fmla="*/ 22894 h 21120"/>
                  <a:gd name="connsiteX3" fmla="*/ 29830 w 29895"/>
                  <a:gd name="connsiteY3" fmla="*/ 12875 h 21120"/>
                  <a:gd name="connsiteX4" fmla="*/ 32980 w 29895"/>
                  <a:gd name="connsiteY4" fmla="*/ 10257 h 21120"/>
                  <a:gd name="connsiteX5" fmla="*/ 28752 w 29895"/>
                  <a:gd name="connsiteY5" fmla="*/ 1773 h 21120"/>
                  <a:gd name="connsiteX6" fmla="*/ 28752 w 29895"/>
                  <a:gd name="connsiteY6" fmla="*/ 1773 h 2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895" h="21120">
                    <a:moveTo>
                      <a:pt x="28752" y="1773"/>
                    </a:moveTo>
                    <a:cubicBezTo>
                      <a:pt x="20203" y="4480"/>
                      <a:pt x="9587" y="8091"/>
                      <a:pt x="4010" y="15312"/>
                    </a:cubicBezTo>
                    <a:cubicBezTo>
                      <a:pt x="2930" y="18742"/>
                      <a:pt x="5359" y="22713"/>
                      <a:pt x="9047" y="22894"/>
                    </a:cubicBezTo>
                    <a:cubicBezTo>
                      <a:pt x="16155" y="20366"/>
                      <a:pt x="22274" y="14860"/>
                      <a:pt x="29830" y="12875"/>
                    </a:cubicBezTo>
                    <a:cubicBezTo>
                      <a:pt x="31181" y="12423"/>
                      <a:pt x="32349" y="11521"/>
                      <a:pt x="32980" y="10257"/>
                    </a:cubicBezTo>
                    <a:cubicBezTo>
                      <a:pt x="34779" y="6917"/>
                      <a:pt x="32800" y="1773"/>
                      <a:pt x="28752" y="1773"/>
                    </a:cubicBezTo>
                    <a:lnTo>
                      <a:pt x="2875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264A172B-F7AA-8C91-02A0-D456D1432BC2}"/>
                  </a:ext>
                </a:extLst>
              </p:cNvPr>
              <p:cNvSpPr/>
              <p:nvPr/>
            </p:nvSpPr>
            <p:spPr>
              <a:xfrm>
                <a:off x="3100795" y="3891073"/>
                <a:ext cx="22843" cy="18526"/>
              </a:xfrm>
              <a:custGeom>
                <a:avLst/>
                <a:gdLst>
                  <a:gd name="connsiteX0" fmla="*/ 8938 w 22843"/>
                  <a:gd name="connsiteY0" fmla="*/ 1887 h 18526"/>
                  <a:gd name="connsiteX1" fmla="*/ 9028 w 22843"/>
                  <a:gd name="connsiteY1" fmla="*/ 13080 h 18526"/>
                  <a:gd name="connsiteX2" fmla="*/ 20634 w 22843"/>
                  <a:gd name="connsiteY2" fmla="*/ 20300 h 18526"/>
                  <a:gd name="connsiteX3" fmla="*/ 8938 w 22843"/>
                  <a:gd name="connsiteY3" fmla="*/ 1887 h 1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43" h="18526">
                    <a:moveTo>
                      <a:pt x="8938" y="1887"/>
                    </a:moveTo>
                    <a:cubicBezTo>
                      <a:pt x="1830" y="1707"/>
                      <a:pt x="2190" y="13260"/>
                      <a:pt x="9028" y="13080"/>
                    </a:cubicBezTo>
                    <a:cubicBezTo>
                      <a:pt x="15325" y="12266"/>
                      <a:pt x="15415" y="20030"/>
                      <a:pt x="20634" y="20300"/>
                    </a:cubicBezTo>
                    <a:cubicBezTo>
                      <a:pt x="35928" y="16419"/>
                      <a:pt x="18025" y="262"/>
                      <a:pt x="8938" y="18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39691EB4-8B65-0F94-A5A7-D6CEBAA19A82}"/>
                  </a:ext>
                </a:extLst>
              </p:cNvPr>
              <p:cNvSpPr/>
              <p:nvPr/>
            </p:nvSpPr>
            <p:spPr>
              <a:xfrm>
                <a:off x="2920607" y="3847854"/>
                <a:ext cx="25401" cy="15813"/>
              </a:xfrm>
              <a:custGeom>
                <a:avLst/>
                <a:gdLst>
                  <a:gd name="connsiteX0" fmla="*/ 8919 w 25401"/>
                  <a:gd name="connsiteY0" fmla="*/ 1782 h 15813"/>
                  <a:gd name="connsiteX1" fmla="*/ 5051 w 25401"/>
                  <a:gd name="connsiteY1" fmla="*/ 10988 h 15813"/>
                  <a:gd name="connsiteX2" fmla="*/ 19807 w 25401"/>
                  <a:gd name="connsiteY2" fmla="*/ 16494 h 15813"/>
                  <a:gd name="connsiteX3" fmla="*/ 23315 w 25401"/>
                  <a:gd name="connsiteY3" fmla="*/ 17577 h 15813"/>
                  <a:gd name="connsiteX4" fmla="*/ 28984 w 25401"/>
                  <a:gd name="connsiteY4" fmla="*/ 12883 h 15813"/>
                  <a:gd name="connsiteX5" fmla="*/ 26285 w 25401"/>
                  <a:gd name="connsiteY5" fmla="*/ 7378 h 15813"/>
                  <a:gd name="connsiteX6" fmla="*/ 8919 w 2540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1" h="15813">
                    <a:moveTo>
                      <a:pt x="8919" y="1782"/>
                    </a:moveTo>
                    <a:cubicBezTo>
                      <a:pt x="4153" y="1511"/>
                      <a:pt x="2262" y="7739"/>
                      <a:pt x="5051" y="10988"/>
                    </a:cubicBezTo>
                    <a:cubicBezTo>
                      <a:pt x="8471" y="14057"/>
                      <a:pt x="15039" y="12883"/>
                      <a:pt x="19807" y="16494"/>
                    </a:cubicBezTo>
                    <a:cubicBezTo>
                      <a:pt x="20886" y="17125"/>
                      <a:pt x="22056" y="17667"/>
                      <a:pt x="23315" y="17577"/>
                    </a:cubicBezTo>
                    <a:cubicBezTo>
                      <a:pt x="26015" y="17487"/>
                      <a:pt x="28354" y="15592"/>
                      <a:pt x="28984" y="12883"/>
                    </a:cubicBezTo>
                    <a:cubicBezTo>
                      <a:pt x="29612" y="10627"/>
                      <a:pt x="28444" y="8280"/>
                      <a:pt x="26285" y="7378"/>
                    </a:cubicBezTo>
                    <a:cubicBezTo>
                      <a:pt x="20435" y="4399"/>
                      <a:pt x="15039" y="1872"/>
                      <a:pt x="8919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0EA661CD-15C2-E950-BBE4-81E7A7513B19}"/>
                  </a:ext>
                </a:extLst>
              </p:cNvPr>
              <p:cNvSpPr/>
              <p:nvPr/>
            </p:nvSpPr>
            <p:spPr>
              <a:xfrm>
                <a:off x="2502722" y="3830893"/>
                <a:ext cx="34684" cy="18595"/>
              </a:xfrm>
              <a:custGeom>
                <a:avLst/>
                <a:gdLst>
                  <a:gd name="connsiteX0" fmla="*/ 33375 w 34684"/>
                  <a:gd name="connsiteY0" fmla="*/ 1774 h 18595"/>
                  <a:gd name="connsiteX1" fmla="*/ 19610 w 34684"/>
                  <a:gd name="connsiteY1" fmla="*/ 5656 h 18595"/>
                  <a:gd name="connsiteX2" fmla="*/ 19610 w 34684"/>
                  <a:gd name="connsiteY2" fmla="*/ 5656 h 18595"/>
                  <a:gd name="connsiteX3" fmla="*/ 4406 w 34684"/>
                  <a:gd name="connsiteY3" fmla="*/ 11883 h 18595"/>
                  <a:gd name="connsiteX4" fmla="*/ 8724 w 34684"/>
                  <a:gd name="connsiteY4" fmla="*/ 20368 h 18595"/>
                  <a:gd name="connsiteX5" fmla="*/ 37783 w 34684"/>
                  <a:gd name="connsiteY5" fmla="*/ 10169 h 18595"/>
                  <a:gd name="connsiteX6" fmla="*/ 33375 w 34684"/>
                  <a:gd name="connsiteY6" fmla="*/ 1774 h 18595"/>
                  <a:gd name="connsiteX7" fmla="*/ 33375 w 34684"/>
                  <a:gd name="connsiteY7" fmla="*/ 1774 h 1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84" h="18595">
                    <a:moveTo>
                      <a:pt x="33375" y="1774"/>
                    </a:moveTo>
                    <a:cubicBezTo>
                      <a:pt x="28696" y="2586"/>
                      <a:pt x="24198" y="4573"/>
                      <a:pt x="19610" y="5656"/>
                    </a:cubicBezTo>
                    <a:lnTo>
                      <a:pt x="19610" y="5656"/>
                    </a:lnTo>
                    <a:cubicBezTo>
                      <a:pt x="14753" y="7732"/>
                      <a:pt x="7735" y="7461"/>
                      <a:pt x="4406" y="11883"/>
                    </a:cubicBezTo>
                    <a:cubicBezTo>
                      <a:pt x="2607" y="15132"/>
                      <a:pt x="4676" y="20368"/>
                      <a:pt x="8724" y="20368"/>
                    </a:cubicBezTo>
                    <a:cubicBezTo>
                      <a:pt x="18081" y="16938"/>
                      <a:pt x="30047" y="16487"/>
                      <a:pt x="37783" y="10169"/>
                    </a:cubicBezTo>
                    <a:cubicBezTo>
                      <a:pt x="39584" y="6920"/>
                      <a:pt x="37515" y="1684"/>
                      <a:pt x="33375" y="1774"/>
                    </a:cubicBezTo>
                    <a:lnTo>
                      <a:pt x="33375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1CD833AB-2E57-5451-6EA8-1AEF41804366}"/>
                  </a:ext>
                </a:extLst>
              </p:cNvPr>
              <p:cNvSpPr/>
              <p:nvPr/>
            </p:nvSpPr>
            <p:spPr>
              <a:xfrm>
                <a:off x="2689948" y="3828547"/>
                <a:ext cx="22822" cy="13542"/>
              </a:xfrm>
              <a:custGeom>
                <a:avLst/>
                <a:gdLst>
                  <a:gd name="connsiteX0" fmla="*/ 21406 w 22822"/>
                  <a:gd name="connsiteY0" fmla="*/ 15312 h 13542"/>
                  <a:gd name="connsiteX1" fmla="*/ 25277 w 22822"/>
                  <a:gd name="connsiteY1" fmla="*/ 6105 h 13542"/>
                  <a:gd name="connsiteX2" fmla="*/ 8902 w 22822"/>
                  <a:gd name="connsiteY2" fmla="*/ 1773 h 13542"/>
                  <a:gd name="connsiteX3" fmla="*/ 8001 w 22822"/>
                  <a:gd name="connsiteY3" fmla="*/ 12784 h 13542"/>
                  <a:gd name="connsiteX4" fmla="*/ 21406 w 22822"/>
                  <a:gd name="connsiteY4" fmla="*/ 15312 h 1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22" h="13542">
                    <a:moveTo>
                      <a:pt x="21406" y="15312"/>
                    </a:moveTo>
                    <a:cubicBezTo>
                      <a:pt x="26175" y="15493"/>
                      <a:pt x="28064" y="9445"/>
                      <a:pt x="25277" y="6105"/>
                    </a:cubicBezTo>
                    <a:cubicBezTo>
                      <a:pt x="22397" y="3489"/>
                      <a:pt x="13310" y="2856"/>
                      <a:pt x="8902" y="1773"/>
                    </a:cubicBezTo>
                    <a:cubicBezTo>
                      <a:pt x="2334" y="2044"/>
                      <a:pt x="2064" y="11611"/>
                      <a:pt x="8001" y="12784"/>
                    </a:cubicBezTo>
                    <a:cubicBezTo>
                      <a:pt x="8361" y="12875"/>
                      <a:pt x="16998" y="15402"/>
                      <a:pt x="21406" y="153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0E8C61CC-E5B2-769D-F23C-C26B56DE6C31}"/>
                  </a:ext>
                </a:extLst>
              </p:cNvPr>
              <p:cNvSpPr/>
              <p:nvPr/>
            </p:nvSpPr>
            <p:spPr>
              <a:xfrm>
                <a:off x="3151035" y="3794763"/>
                <a:ext cx="37216" cy="13541"/>
              </a:xfrm>
              <a:custGeom>
                <a:avLst/>
                <a:gdLst>
                  <a:gd name="connsiteX0" fmla="*/ 9261 w 37216"/>
                  <a:gd name="connsiteY0" fmla="*/ 1800 h 13541"/>
                  <a:gd name="connsiteX1" fmla="*/ 3772 w 37216"/>
                  <a:gd name="connsiteY1" fmla="*/ 7848 h 13541"/>
                  <a:gd name="connsiteX2" fmla="*/ 10790 w 37216"/>
                  <a:gd name="connsiteY2" fmla="*/ 12992 h 13541"/>
                  <a:gd name="connsiteX3" fmla="*/ 34632 w 37216"/>
                  <a:gd name="connsiteY3" fmla="*/ 15249 h 13541"/>
                  <a:gd name="connsiteX4" fmla="*/ 35081 w 37216"/>
                  <a:gd name="connsiteY4" fmla="*/ 3966 h 13541"/>
                  <a:gd name="connsiteX5" fmla="*/ 9261 w 37216"/>
                  <a:gd name="connsiteY5" fmla="*/ 1800 h 13541"/>
                  <a:gd name="connsiteX6" fmla="*/ 9261 w 37216"/>
                  <a:gd name="connsiteY6" fmla="*/ 1800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216" h="13541">
                    <a:moveTo>
                      <a:pt x="9261" y="1800"/>
                    </a:moveTo>
                    <a:cubicBezTo>
                      <a:pt x="6021" y="1800"/>
                      <a:pt x="3502" y="4599"/>
                      <a:pt x="3772" y="7848"/>
                    </a:cubicBezTo>
                    <a:cubicBezTo>
                      <a:pt x="3952" y="11459"/>
                      <a:pt x="7462" y="13444"/>
                      <a:pt x="10790" y="12992"/>
                    </a:cubicBezTo>
                    <a:cubicBezTo>
                      <a:pt x="18438" y="12992"/>
                      <a:pt x="26534" y="13354"/>
                      <a:pt x="34632" y="15249"/>
                    </a:cubicBezTo>
                    <a:cubicBezTo>
                      <a:pt x="42729" y="16332"/>
                      <a:pt x="43269" y="3606"/>
                      <a:pt x="35081" y="3966"/>
                    </a:cubicBezTo>
                    <a:cubicBezTo>
                      <a:pt x="26534" y="2342"/>
                      <a:pt x="17897" y="1619"/>
                      <a:pt x="9261" y="1800"/>
                    </a:cubicBezTo>
                    <a:lnTo>
                      <a:pt x="9261" y="1800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9111A6E7-8F97-6C5E-2358-6091A69AA2ED}"/>
                  </a:ext>
                </a:extLst>
              </p:cNvPr>
              <p:cNvSpPr/>
              <p:nvPr/>
            </p:nvSpPr>
            <p:spPr>
              <a:xfrm>
                <a:off x="2925053" y="3725019"/>
                <a:ext cx="28302" cy="20351"/>
              </a:xfrm>
              <a:custGeom>
                <a:avLst/>
                <a:gdLst>
                  <a:gd name="connsiteX0" fmla="*/ 26068 w 28302"/>
                  <a:gd name="connsiteY0" fmla="*/ 1773 h 20351"/>
                  <a:gd name="connsiteX1" fmla="*/ 10593 w 28302"/>
                  <a:gd name="connsiteY1" fmla="*/ 10257 h 20351"/>
                  <a:gd name="connsiteX2" fmla="*/ 3936 w 28302"/>
                  <a:gd name="connsiteY2" fmla="*/ 17568 h 20351"/>
                  <a:gd name="connsiteX3" fmla="*/ 15720 w 28302"/>
                  <a:gd name="connsiteY3" fmla="*/ 20096 h 20351"/>
                  <a:gd name="connsiteX4" fmla="*/ 15720 w 28302"/>
                  <a:gd name="connsiteY4" fmla="*/ 20096 h 20351"/>
                  <a:gd name="connsiteX5" fmla="*/ 26068 w 28302"/>
                  <a:gd name="connsiteY5" fmla="*/ 1773 h 20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302" h="20351">
                    <a:moveTo>
                      <a:pt x="26068" y="1773"/>
                    </a:moveTo>
                    <a:cubicBezTo>
                      <a:pt x="20579" y="3308"/>
                      <a:pt x="16441" y="8723"/>
                      <a:pt x="10593" y="10257"/>
                    </a:cubicBezTo>
                    <a:cubicBezTo>
                      <a:pt x="7444" y="11611"/>
                      <a:pt x="2765" y="13236"/>
                      <a:pt x="3936" y="17568"/>
                    </a:cubicBezTo>
                    <a:cubicBezTo>
                      <a:pt x="5375" y="23436"/>
                      <a:pt x="11762" y="22894"/>
                      <a:pt x="15720" y="20096"/>
                    </a:cubicBezTo>
                    <a:lnTo>
                      <a:pt x="15720" y="20096"/>
                    </a:lnTo>
                    <a:cubicBezTo>
                      <a:pt x="22738" y="17478"/>
                      <a:pt x="41632" y="6557"/>
                      <a:pt x="26068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9E58C144-8ADA-3F82-008D-5785D735D2B4}"/>
                  </a:ext>
                </a:extLst>
              </p:cNvPr>
              <p:cNvSpPr/>
              <p:nvPr/>
            </p:nvSpPr>
            <p:spPr>
              <a:xfrm>
                <a:off x="2531187" y="3722489"/>
                <a:ext cx="27769" cy="15599"/>
              </a:xfrm>
              <a:custGeom>
                <a:avLst/>
                <a:gdLst>
                  <a:gd name="connsiteX0" fmla="*/ 26414 w 27769"/>
                  <a:gd name="connsiteY0" fmla="*/ 1775 h 15599"/>
                  <a:gd name="connsiteX1" fmla="*/ 6622 w 27769"/>
                  <a:gd name="connsiteY1" fmla="*/ 7371 h 15599"/>
                  <a:gd name="connsiteX2" fmla="*/ 3922 w 27769"/>
                  <a:gd name="connsiteY2" fmla="*/ 12787 h 15599"/>
                  <a:gd name="connsiteX3" fmla="*/ 26234 w 27769"/>
                  <a:gd name="connsiteY3" fmla="*/ 12967 h 15599"/>
                  <a:gd name="connsiteX4" fmla="*/ 26414 w 27769"/>
                  <a:gd name="connsiteY4" fmla="*/ 1775 h 15599"/>
                  <a:gd name="connsiteX5" fmla="*/ 26414 w 27769"/>
                  <a:gd name="connsiteY5" fmla="*/ 1775 h 1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69" h="15599">
                    <a:moveTo>
                      <a:pt x="26414" y="1775"/>
                    </a:moveTo>
                    <a:cubicBezTo>
                      <a:pt x="20385" y="1956"/>
                      <a:pt x="14177" y="3671"/>
                      <a:pt x="6622" y="7371"/>
                    </a:cubicBezTo>
                    <a:cubicBezTo>
                      <a:pt x="4462" y="8274"/>
                      <a:pt x="3292" y="10620"/>
                      <a:pt x="3922" y="12787"/>
                    </a:cubicBezTo>
                    <a:cubicBezTo>
                      <a:pt x="7700" y="23528"/>
                      <a:pt x="18766" y="11884"/>
                      <a:pt x="26234" y="12967"/>
                    </a:cubicBezTo>
                    <a:cubicBezTo>
                      <a:pt x="33072" y="13148"/>
                      <a:pt x="33432" y="1594"/>
                      <a:pt x="26414" y="1775"/>
                    </a:cubicBezTo>
                    <a:lnTo>
                      <a:pt x="26414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5EA1FFC7-0F44-D066-CD18-AFD188FE6926}"/>
                  </a:ext>
                </a:extLst>
              </p:cNvPr>
              <p:cNvSpPr/>
              <p:nvPr/>
            </p:nvSpPr>
            <p:spPr>
              <a:xfrm>
                <a:off x="2709052" y="3703265"/>
                <a:ext cx="22809" cy="25635"/>
              </a:xfrm>
              <a:custGeom>
                <a:avLst/>
                <a:gdLst>
                  <a:gd name="connsiteX0" fmla="*/ 9411 w 22809"/>
                  <a:gd name="connsiteY0" fmla="*/ 1774 h 25635"/>
                  <a:gd name="connsiteX1" fmla="*/ 6443 w 22809"/>
                  <a:gd name="connsiteY1" fmla="*/ 12154 h 25635"/>
                  <a:gd name="connsiteX2" fmla="*/ 16519 w 22809"/>
                  <a:gd name="connsiteY2" fmla="*/ 24610 h 25635"/>
                  <a:gd name="connsiteX3" fmla="*/ 20837 w 22809"/>
                  <a:gd name="connsiteY3" fmla="*/ 27408 h 25635"/>
                  <a:gd name="connsiteX4" fmla="*/ 9411 w 22809"/>
                  <a:gd name="connsiteY4" fmla="*/ 1774 h 25635"/>
                  <a:gd name="connsiteX5" fmla="*/ 9411 w 22809"/>
                  <a:gd name="connsiteY5" fmla="*/ 1774 h 2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09" h="25635">
                    <a:moveTo>
                      <a:pt x="9411" y="1774"/>
                    </a:moveTo>
                    <a:cubicBezTo>
                      <a:pt x="4194" y="1683"/>
                      <a:pt x="1314" y="9717"/>
                      <a:pt x="6443" y="12154"/>
                    </a:cubicBezTo>
                    <a:cubicBezTo>
                      <a:pt x="10942" y="14591"/>
                      <a:pt x="13909" y="19555"/>
                      <a:pt x="16519" y="24610"/>
                    </a:cubicBezTo>
                    <a:cubicBezTo>
                      <a:pt x="17239" y="26324"/>
                      <a:pt x="18948" y="27408"/>
                      <a:pt x="20837" y="27408"/>
                    </a:cubicBezTo>
                    <a:cubicBezTo>
                      <a:pt x="35951" y="24971"/>
                      <a:pt x="17239" y="2676"/>
                      <a:pt x="9411" y="1774"/>
                    </a:cubicBezTo>
                    <a:lnTo>
                      <a:pt x="9411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76F57BB4-A1CA-B24F-8CF0-98583DB7B012}"/>
                  </a:ext>
                </a:extLst>
              </p:cNvPr>
              <p:cNvSpPr/>
              <p:nvPr/>
            </p:nvSpPr>
            <p:spPr>
              <a:xfrm>
                <a:off x="3307092" y="4481577"/>
                <a:ext cx="27818" cy="13517"/>
              </a:xfrm>
              <a:custGeom>
                <a:avLst/>
                <a:gdLst>
                  <a:gd name="connsiteX0" fmla="*/ 29990 w 27818"/>
                  <a:gd name="connsiteY0" fmla="*/ 3308 h 13517"/>
                  <a:gd name="connsiteX1" fmla="*/ 26122 w 27818"/>
                  <a:gd name="connsiteY1" fmla="*/ 1773 h 13517"/>
                  <a:gd name="connsiteX2" fmla="*/ 4080 w 27818"/>
                  <a:gd name="connsiteY2" fmla="*/ 7911 h 13517"/>
                  <a:gd name="connsiteX3" fmla="*/ 12176 w 27818"/>
                  <a:gd name="connsiteY3" fmla="*/ 14590 h 13517"/>
                  <a:gd name="connsiteX4" fmla="*/ 30890 w 27818"/>
                  <a:gd name="connsiteY4" fmla="*/ 10077 h 13517"/>
                  <a:gd name="connsiteX5" fmla="*/ 31521 w 27818"/>
                  <a:gd name="connsiteY5" fmla="*/ 6738 h 13517"/>
                  <a:gd name="connsiteX6" fmla="*/ 29990 w 27818"/>
                  <a:gd name="connsiteY6" fmla="*/ 3308 h 13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18" h="13517">
                    <a:moveTo>
                      <a:pt x="29990" y="3308"/>
                    </a:moveTo>
                    <a:cubicBezTo>
                      <a:pt x="28911" y="2315"/>
                      <a:pt x="27560" y="1773"/>
                      <a:pt x="26122" y="1773"/>
                    </a:cubicBezTo>
                    <a:cubicBezTo>
                      <a:pt x="19374" y="2315"/>
                      <a:pt x="8308" y="961"/>
                      <a:pt x="4080" y="7911"/>
                    </a:cubicBezTo>
                    <a:cubicBezTo>
                      <a:pt x="2371" y="12695"/>
                      <a:pt x="7678" y="17028"/>
                      <a:pt x="12176" y="14590"/>
                    </a:cubicBezTo>
                    <a:cubicBezTo>
                      <a:pt x="17755" y="10980"/>
                      <a:pt x="27470" y="15854"/>
                      <a:pt x="30890" y="10077"/>
                    </a:cubicBezTo>
                    <a:cubicBezTo>
                      <a:pt x="30890" y="10077"/>
                      <a:pt x="31789" y="8633"/>
                      <a:pt x="31521" y="6738"/>
                    </a:cubicBezTo>
                    <a:cubicBezTo>
                      <a:pt x="31250" y="4843"/>
                      <a:pt x="29990" y="3308"/>
                      <a:pt x="29990" y="330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CAC852B7-68D9-C8C7-36BC-01A52F8999F7}"/>
                  </a:ext>
                </a:extLst>
              </p:cNvPr>
              <p:cNvSpPr/>
              <p:nvPr/>
            </p:nvSpPr>
            <p:spPr>
              <a:xfrm>
                <a:off x="3055066" y="3672490"/>
                <a:ext cx="29916" cy="20073"/>
              </a:xfrm>
              <a:custGeom>
                <a:avLst/>
                <a:gdLst>
                  <a:gd name="connsiteX0" fmla="*/ 24439 w 29916"/>
                  <a:gd name="connsiteY0" fmla="*/ 2221 h 20073"/>
                  <a:gd name="connsiteX1" fmla="*/ 3836 w 29916"/>
                  <a:gd name="connsiteY1" fmla="*/ 18017 h 20073"/>
                  <a:gd name="connsiteX2" fmla="*/ 13103 w 29916"/>
                  <a:gd name="connsiteY2" fmla="*/ 20364 h 20073"/>
                  <a:gd name="connsiteX3" fmla="*/ 28667 w 29916"/>
                  <a:gd name="connsiteY3" fmla="*/ 12511 h 20073"/>
                  <a:gd name="connsiteX4" fmla="*/ 33526 w 29916"/>
                  <a:gd name="connsiteY4" fmla="*/ 7908 h 20073"/>
                  <a:gd name="connsiteX5" fmla="*/ 30827 w 29916"/>
                  <a:gd name="connsiteY5" fmla="*/ 2673 h 20073"/>
                  <a:gd name="connsiteX6" fmla="*/ 24439 w 29916"/>
                  <a:gd name="connsiteY6" fmla="*/ 2221 h 2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16" h="20073">
                    <a:moveTo>
                      <a:pt x="24439" y="2221"/>
                    </a:moveTo>
                    <a:cubicBezTo>
                      <a:pt x="17692" y="5200"/>
                      <a:pt x="2488" y="8720"/>
                      <a:pt x="3836" y="18017"/>
                    </a:cubicBezTo>
                    <a:cubicBezTo>
                      <a:pt x="5275" y="21628"/>
                      <a:pt x="10314" y="23252"/>
                      <a:pt x="13103" y="20364"/>
                    </a:cubicBezTo>
                    <a:cubicBezTo>
                      <a:pt x="17421" y="16303"/>
                      <a:pt x="23178" y="14406"/>
                      <a:pt x="28667" y="12511"/>
                    </a:cubicBezTo>
                    <a:cubicBezTo>
                      <a:pt x="31007" y="11969"/>
                      <a:pt x="33256" y="10435"/>
                      <a:pt x="33526" y="7908"/>
                    </a:cubicBezTo>
                    <a:cubicBezTo>
                      <a:pt x="33526" y="7908"/>
                      <a:pt x="34605" y="4388"/>
                      <a:pt x="30827" y="2673"/>
                    </a:cubicBezTo>
                    <a:cubicBezTo>
                      <a:pt x="27139" y="958"/>
                      <a:pt x="24439" y="2221"/>
                      <a:pt x="24439" y="22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403234A7-F4CB-DBC3-5D2A-D8FA5937F06C}"/>
                </a:ext>
              </a:extLst>
            </p:cNvPr>
            <p:cNvSpPr/>
            <p:nvPr/>
          </p:nvSpPr>
          <p:spPr>
            <a:xfrm>
              <a:off x="2612593" y="2911896"/>
              <a:ext cx="483411" cy="589426"/>
            </a:xfrm>
            <a:custGeom>
              <a:avLst/>
              <a:gdLst>
                <a:gd name="connsiteX0" fmla="*/ 389441 w 483411"/>
                <a:gd name="connsiteY0" fmla="*/ 34142 h 589426"/>
                <a:gd name="connsiteX1" fmla="*/ 70955 w 483411"/>
                <a:gd name="connsiteY1" fmla="*/ 85409 h 589426"/>
                <a:gd name="connsiteX2" fmla="*/ 42884 w 483411"/>
                <a:gd name="connsiteY2" fmla="*/ 144439 h 589426"/>
                <a:gd name="connsiteX3" fmla="*/ 21025 w 483411"/>
                <a:gd name="connsiteY3" fmla="*/ 248328 h 589426"/>
                <a:gd name="connsiteX4" fmla="*/ 22641 w 483411"/>
                <a:gd name="connsiteY4" fmla="*/ 303658 h 589426"/>
                <a:gd name="connsiteX5" fmla="*/ 29029 w 483411"/>
                <a:gd name="connsiteY5" fmla="*/ 314940 h 589426"/>
                <a:gd name="connsiteX6" fmla="*/ 4920 w 483411"/>
                <a:gd name="connsiteY6" fmla="*/ 345358 h 589426"/>
                <a:gd name="connsiteX7" fmla="*/ 19852 w 483411"/>
                <a:gd name="connsiteY7" fmla="*/ 399874 h 589426"/>
                <a:gd name="connsiteX8" fmla="*/ 27772 w 483411"/>
                <a:gd name="connsiteY8" fmla="*/ 430112 h 589426"/>
                <a:gd name="connsiteX9" fmla="*/ 77790 w 483411"/>
                <a:gd name="connsiteY9" fmla="*/ 463056 h 589426"/>
                <a:gd name="connsiteX10" fmla="*/ 120978 w 483411"/>
                <a:gd name="connsiteY10" fmla="*/ 512610 h 589426"/>
                <a:gd name="connsiteX11" fmla="*/ 332222 w 483411"/>
                <a:gd name="connsiteY11" fmla="*/ 590233 h 589426"/>
                <a:gd name="connsiteX12" fmla="*/ 461055 w 483411"/>
                <a:gd name="connsiteY12" fmla="*/ 476595 h 589426"/>
                <a:gd name="connsiteX13" fmla="*/ 484537 w 483411"/>
                <a:gd name="connsiteY13" fmla="*/ 175307 h 589426"/>
                <a:gd name="connsiteX14" fmla="*/ 389441 w 483411"/>
                <a:gd name="connsiteY14" fmla="*/ 34142 h 5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3411" h="589426">
                  <a:moveTo>
                    <a:pt x="389441" y="34142"/>
                  </a:moveTo>
                  <a:cubicBezTo>
                    <a:pt x="289668" y="-17125"/>
                    <a:pt x="141128" y="-11621"/>
                    <a:pt x="70955" y="85409"/>
                  </a:cubicBezTo>
                  <a:cubicBezTo>
                    <a:pt x="59709" y="103822"/>
                    <a:pt x="48463" y="123950"/>
                    <a:pt x="42884" y="144439"/>
                  </a:cubicBezTo>
                  <a:cubicBezTo>
                    <a:pt x="36049" y="170975"/>
                    <a:pt x="23810" y="210239"/>
                    <a:pt x="21025" y="248328"/>
                  </a:cubicBezTo>
                  <a:cubicBezTo>
                    <a:pt x="19584" y="267643"/>
                    <a:pt x="21205" y="285605"/>
                    <a:pt x="22641" y="303658"/>
                  </a:cubicBezTo>
                  <a:cubicBezTo>
                    <a:pt x="23182" y="310066"/>
                    <a:pt x="29209" y="312593"/>
                    <a:pt x="29029" y="314940"/>
                  </a:cubicBezTo>
                  <a:cubicBezTo>
                    <a:pt x="27412" y="330013"/>
                    <a:pt x="11575" y="326403"/>
                    <a:pt x="4920" y="345358"/>
                  </a:cubicBezTo>
                  <a:cubicBezTo>
                    <a:pt x="2130" y="356640"/>
                    <a:pt x="7437" y="383357"/>
                    <a:pt x="19852" y="399874"/>
                  </a:cubicBezTo>
                  <a:cubicBezTo>
                    <a:pt x="25791" y="407817"/>
                    <a:pt x="20124" y="426682"/>
                    <a:pt x="27772" y="430112"/>
                  </a:cubicBezTo>
                  <a:cubicBezTo>
                    <a:pt x="45313" y="440040"/>
                    <a:pt x="58808" y="438235"/>
                    <a:pt x="77790" y="463056"/>
                  </a:cubicBezTo>
                  <a:cubicBezTo>
                    <a:pt x="91558" y="480115"/>
                    <a:pt x="103524" y="498980"/>
                    <a:pt x="120978" y="512610"/>
                  </a:cubicBezTo>
                  <a:cubicBezTo>
                    <a:pt x="157505" y="581026"/>
                    <a:pt x="261869" y="596551"/>
                    <a:pt x="332222" y="590233"/>
                  </a:cubicBezTo>
                  <a:cubicBezTo>
                    <a:pt x="397629" y="579763"/>
                    <a:pt x="437214" y="535084"/>
                    <a:pt x="461055" y="476595"/>
                  </a:cubicBezTo>
                  <a:cubicBezTo>
                    <a:pt x="498213" y="385342"/>
                    <a:pt x="485976" y="255821"/>
                    <a:pt x="484537" y="175307"/>
                  </a:cubicBezTo>
                  <a:cubicBezTo>
                    <a:pt x="485258" y="107703"/>
                    <a:pt x="446659" y="62302"/>
                    <a:pt x="389441" y="3414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691D5B4F-DF80-CB8C-5E23-8B59399618C8}"/>
                </a:ext>
              </a:extLst>
            </p:cNvPr>
            <p:cNvSpPr/>
            <p:nvPr/>
          </p:nvSpPr>
          <p:spPr>
            <a:xfrm>
              <a:off x="2604469" y="2826605"/>
              <a:ext cx="570165" cy="690667"/>
            </a:xfrm>
            <a:custGeom>
              <a:avLst/>
              <a:gdLst>
                <a:gd name="connsiteX0" fmla="*/ 288435 w 570165"/>
                <a:gd name="connsiteY0" fmla="*/ 689333 h 690667"/>
                <a:gd name="connsiteX1" fmla="*/ 261532 w 570165"/>
                <a:gd name="connsiteY1" fmla="*/ 681571 h 690667"/>
                <a:gd name="connsiteX2" fmla="*/ 235082 w 570165"/>
                <a:gd name="connsiteY2" fmla="*/ 666227 h 690667"/>
                <a:gd name="connsiteX3" fmla="*/ 235535 w 570165"/>
                <a:gd name="connsiteY3" fmla="*/ 650702 h 690667"/>
                <a:gd name="connsiteX4" fmla="*/ 245608 w 570165"/>
                <a:gd name="connsiteY4" fmla="*/ 647994 h 690667"/>
                <a:gd name="connsiteX5" fmla="*/ 274579 w 570165"/>
                <a:gd name="connsiteY5" fmla="*/ 659367 h 690667"/>
                <a:gd name="connsiteX6" fmla="*/ 302830 w 570165"/>
                <a:gd name="connsiteY6" fmla="*/ 666227 h 690667"/>
                <a:gd name="connsiteX7" fmla="*/ 360317 w 570165"/>
                <a:gd name="connsiteY7" fmla="*/ 661172 h 690667"/>
                <a:gd name="connsiteX8" fmla="*/ 436341 w 570165"/>
                <a:gd name="connsiteY8" fmla="*/ 607377 h 690667"/>
                <a:gd name="connsiteX9" fmla="*/ 468999 w 570165"/>
                <a:gd name="connsiteY9" fmla="*/ 507099 h 690667"/>
                <a:gd name="connsiteX10" fmla="*/ 471520 w 570165"/>
                <a:gd name="connsiteY10" fmla="*/ 383803 h 690667"/>
                <a:gd name="connsiteX11" fmla="*/ 471698 w 570165"/>
                <a:gd name="connsiteY11" fmla="*/ 318996 h 690667"/>
                <a:gd name="connsiteX12" fmla="*/ 472599 w 570165"/>
                <a:gd name="connsiteY12" fmla="*/ 257260 h 690667"/>
                <a:gd name="connsiteX13" fmla="*/ 469719 w 570165"/>
                <a:gd name="connsiteY13" fmla="*/ 255995 h 690667"/>
                <a:gd name="connsiteX14" fmla="*/ 443181 w 570165"/>
                <a:gd name="connsiteY14" fmla="*/ 231173 h 690667"/>
                <a:gd name="connsiteX15" fmla="*/ 413041 w 570165"/>
                <a:gd name="connsiteY15" fmla="*/ 210413 h 690667"/>
                <a:gd name="connsiteX16" fmla="*/ 282407 w 570165"/>
                <a:gd name="connsiteY16" fmla="*/ 178912 h 690667"/>
                <a:gd name="connsiteX17" fmla="*/ 208632 w 570165"/>
                <a:gd name="connsiteY17" fmla="*/ 187760 h 690667"/>
                <a:gd name="connsiteX18" fmla="*/ 133148 w 570165"/>
                <a:gd name="connsiteY18" fmla="*/ 207978 h 690667"/>
                <a:gd name="connsiteX19" fmla="*/ 83037 w 570165"/>
                <a:gd name="connsiteY19" fmla="*/ 181621 h 690667"/>
                <a:gd name="connsiteX20" fmla="*/ 72960 w 570165"/>
                <a:gd name="connsiteY20" fmla="*/ 201658 h 690667"/>
                <a:gd name="connsiteX21" fmla="*/ 61534 w 570165"/>
                <a:gd name="connsiteY21" fmla="*/ 227112 h 690667"/>
                <a:gd name="connsiteX22" fmla="*/ 45073 w 570165"/>
                <a:gd name="connsiteY22" fmla="*/ 280726 h 690667"/>
                <a:gd name="connsiteX23" fmla="*/ 36164 w 570165"/>
                <a:gd name="connsiteY23" fmla="*/ 337319 h 690667"/>
                <a:gd name="connsiteX24" fmla="*/ 33195 w 570165"/>
                <a:gd name="connsiteY24" fmla="*/ 365391 h 690667"/>
                <a:gd name="connsiteX25" fmla="*/ 32927 w 570165"/>
                <a:gd name="connsiteY25" fmla="*/ 380644 h 690667"/>
                <a:gd name="connsiteX26" fmla="*/ 34723 w 570165"/>
                <a:gd name="connsiteY26" fmla="*/ 394635 h 690667"/>
                <a:gd name="connsiteX27" fmla="*/ 35536 w 570165"/>
                <a:gd name="connsiteY27" fmla="*/ 395266 h 690667"/>
                <a:gd name="connsiteX28" fmla="*/ 78091 w 570165"/>
                <a:gd name="connsiteY28" fmla="*/ 412506 h 690667"/>
                <a:gd name="connsiteX29" fmla="*/ 77638 w 570165"/>
                <a:gd name="connsiteY29" fmla="*/ 413951 h 690667"/>
                <a:gd name="connsiteX30" fmla="*/ 76470 w 570165"/>
                <a:gd name="connsiteY30" fmla="*/ 413770 h 690667"/>
                <a:gd name="connsiteX31" fmla="*/ 26539 w 570165"/>
                <a:gd name="connsiteY31" fmla="*/ 425594 h 690667"/>
                <a:gd name="connsiteX32" fmla="*/ 24110 w 570165"/>
                <a:gd name="connsiteY32" fmla="*/ 452131 h 690667"/>
                <a:gd name="connsiteX33" fmla="*/ 36705 w 570165"/>
                <a:gd name="connsiteY33" fmla="*/ 480382 h 690667"/>
                <a:gd name="connsiteX34" fmla="*/ 40843 w 570165"/>
                <a:gd name="connsiteY34" fmla="*/ 496809 h 690667"/>
                <a:gd name="connsiteX35" fmla="*/ 44173 w 570165"/>
                <a:gd name="connsiteY35" fmla="*/ 508091 h 690667"/>
                <a:gd name="connsiteX36" fmla="*/ 55867 w 570165"/>
                <a:gd name="connsiteY36" fmla="*/ 512243 h 690667"/>
                <a:gd name="connsiteX37" fmla="*/ 70530 w 570165"/>
                <a:gd name="connsiteY37" fmla="*/ 517208 h 690667"/>
                <a:gd name="connsiteX38" fmla="*/ 110748 w 570165"/>
                <a:gd name="connsiteY38" fmla="*/ 563963 h 690667"/>
                <a:gd name="connsiteX39" fmla="*/ 134861 w 570165"/>
                <a:gd name="connsiteY39" fmla="*/ 588152 h 690667"/>
                <a:gd name="connsiteX40" fmla="*/ 157353 w 570165"/>
                <a:gd name="connsiteY40" fmla="*/ 613064 h 690667"/>
                <a:gd name="connsiteX41" fmla="*/ 150693 w 570165"/>
                <a:gd name="connsiteY41" fmla="*/ 621819 h 690667"/>
                <a:gd name="connsiteX42" fmla="*/ 129190 w 570165"/>
                <a:gd name="connsiteY42" fmla="*/ 613064 h 690667"/>
                <a:gd name="connsiteX43" fmla="*/ 112009 w 570165"/>
                <a:gd name="connsiteY43" fmla="*/ 598171 h 690667"/>
                <a:gd name="connsiteX44" fmla="*/ 82677 w 570165"/>
                <a:gd name="connsiteY44" fmla="*/ 564053 h 690667"/>
                <a:gd name="connsiteX45" fmla="*/ 61986 w 570165"/>
                <a:gd name="connsiteY45" fmla="*/ 537426 h 690667"/>
                <a:gd name="connsiteX46" fmla="*/ 31126 w 570165"/>
                <a:gd name="connsiteY46" fmla="*/ 525060 h 690667"/>
                <a:gd name="connsiteX47" fmla="*/ 19159 w 570165"/>
                <a:gd name="connsiteY47" fmla="*/ 491213 h 690667"/>
                <a:gd name="connsiteX48" fmla="*/ 5484 w 570165"/>
                <a:gd name="connsiteY48" fmla="*/ 457275 h 690667"/>
                <a:gd name="connsiteX49" fmla="*/ 28969 w 570165"/>
                <a:gd name="connsiteY49" fmla="*/ 397884 h 690667"/>
                <a:gd name="connsiteX50" fmla="*/ 32927 w 570165"/>
                <a:gd name="connsiteY50" fmla="*/ 396169 h 690667"/>
                <a:gd name="connsiteX51" fmla="*/ 31758 w 570165"/>
                <a:gd name="connsiteY51" fmla="*/ 395176 h 690667"/>
                <a:gd name="connsiteX52" fmla="*/ 27616 w 570165"/>
                <a:gd name="connsiteY52" fmla="*/ 384796 h 690667"/>
                <a:gd name="connsiteX53" fmla="*/ 22401 w 570165"/>
                <a:gd name="connsiteY53" fmla="*/ 353024 h 690667"/>
                <a:gd name="connsiteX54" fmla="*/ 24470 w 570165"/>
                <a:gd name="connsiteY54" fmla="*/ 288399 h 690667"/>
                <a:gd name="connsiteX55" fmla="*/ 39674 w 570165"/>
                <a:gd name="connsiteY55" fmla="*/ 229459 h 690667"/>
                <a:gd name="connsiteX56" fmla="*/ 34275 w 570165"/>
                <a:gd name="connsiteY56" fmla="*/ 222238 h 690667"/>
                <a:gd name="connsiteX57" fmla="*/ 35356 w 570165"/>
                <a:gd name="connsiteY57" fmla="*/ 202110 h 690667"/>
                <a:gd name="connsiteX58" fmla="*/ 36705 w 570165"/>
                <a:gd name="connsiteY58" fmla="*/ 195973 h 690667"/>
                <a:gd name="connsiteX59" fmla="*/ 145206 w 570165"/>
                <a:gd name="connsiteY59" fmla="*/ 44787 h 690667"/>
                <a:gd name="connsiteX60" fmla="*/ 347902 w 570165"/>
                <a:gd name="connsiteY60" fmla="*/ 4080 h 690667"/>
                <a:gd name="connsiteX61" fmla="*/ 447499 w 570165"/>
                <a:gd name="connsiteY61" fmla="*/ 34137 h 690667"/>
                <a:gd name="connsiteX62" fmla="*/ 512904 w 570165"/>
                <a:gd name="connsiteY62" fmla="*/ 102101 h 690667"/>
                <a:gd name="connsiteX63" fmla="*/ 535036 w 570165"/>
                <a:gd name="connsiteY63" fmla="*/ 190647 h 690667"/>
                <a:gd name="connsiteX64" fmla="*/ 530988 w 570165"/>
                <a:gd name="connsiteY64" fmla="*/ 236590 h 690667"/>
                <a:gd name="connsiteX65" fmla="*/ 529099 w 570165"/>
                <a:gd name="connsiteY65" fmla="*/ 260237 h 690667"/>
                <a:gd name="connsiteX66" fmla="*/ 542954 w 570165"/>
                <a:gd name="connsiteY66" fmla="*/ 276755 h 690667"/>
                <a:gd name="connsiteX67" fmla="*/ 573452 w 570165"/>
                <a:gd name="connsiteY67" fmla="*/ 364668 h 690667"/>
                <a:gd name="connsiteX68" fmla="*/ 528649 w 570165"/>
                <a:gd name="connsiteY68" fmla="*/ 435522 h 690667"/>
                <a:gd name="connsiteX69" fmla="*/ 537105 w 570165"/>
                <a:gd name="connsiteY69" fmla="*/ 449874 h 690667"/>
                <a:gd name="connsiteX70" fmla="*/ 536297 w 570165"/>
                <a:gd name="connsiteY70" fmla="*/ 487242 h 690667"/>
                <a:gd name="connsiteX71" fmla="*/ 508406 w 570165"/>
                <a:gd name="connsiteY71" fmla="*/ 520818 h 690667"/>
                <a:gd name="connsiteX72" fmla="*/ 489064 w 570165"/>
                <a:gd name="connsiteY72" fmla="*/ 523075 h 690667"/>
                <a:gd name="connsiteX73" fmla="*/ 442368 w 570165"/>
                <a:gd name="connsiteY73" fmla="*/ 640774 h 690667"/>
                <a:gd name="connsiteX74" fmla="*/ 347634 w 570165"/>
                <a:gd name="connsiteY74" fmla="*/ 691139 h 690667"/>
                <a:gd name="connsiteX75" fmla="*/ 323881 w 570165"/>
                <a:gd name="connsiteY75" fmla="*/ 692763 h 690667"/>
                <a:gd name="connsiteX76" fmla="*/ 288435 w 570165"/>
                <a:gd name="connsiteY76" fmla="*/ 689333 h 690667"/>
                <a:gd name="connsiteX77" fmla="*/ 71163 w 570165"/>
                <a:gd name="connsiteY77" fmla="*/ 475146 h 690667"/>
                <a:gd name="connsiteX78" fmla="*/ 59557 w 570165"/>
                <a:gd name="connsiteY78" fmla="*/ 456914 h 690667"/>
                <a:gd name="connsiteX79" fmla="*/ 39674 w 570165"/>
                <a:gd name="connsiteY79" fmla="*/ 445090 h 690667"/>
                <a:gd name="connsiteX80" fmla="*/ 39134 w 570165"/>
                <a:gd name="connsiteY80" fmla="*/ 444007 h 690667"/>
                <a:gd name="connsiteX81" fmla="*/ 39854 w 570165"/>
                <a:gd name="connsiteY81" fmla="*/ 443465 h 690667"/>
                <a:gd name="connsiteX82" fmla="*/ 64863 w 570165"/>
                <a:gd name="connsiteY82" fmla="*/ 450055 h 690667"/>
                <a:gd name="connsiteX83" fmla="*/ 83217 w 570165"/>
                <a:gd name="connsiteY83" fmla="*/ 470092 h 690667"/>
                <a:gd name="connsiteX84" fmla="*/ 76470 w 570165"/>
                <a:gd name="connsiteY84" fmla="*/ 478306 h 690667"/>
                <a:gd name="connsiteX85" fmla="*/ 71163 w 570165"/>
                <a:gd name="connsiteY85" fmla="*/ 475146 h 69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70165" h="690667">
                  <a:moveTo>
                    <a:pt x="288435" y="689333"/>
                  </a:moveTo>
                  <a:cubicBezTo>
                    <a:pt x="279258" y="687528"/>
                    <a:pt x="270261" y="685001"/>
                    <a:pt x="261532" y="681571"/>
                  </a:cubicBezTo>
                  <a:cubicBezTo>
                    <a:pt x="251819" y="677871"/>
                    <a:pt x="242102" y="674080"/>
                    <a:pt x="235082" y="666227"/>
                  </a:cubicBezTo>
                  <a:cubicBezTo>
                    <a:pt x="230944" y="661804"/>
                    <a:pt x="231124" y="654854"/>
                    <a:pt x="235535" y="650702"/>
                  </a:cubicBezTo>
                  <a:cubicBezTo>
                    <a:pt x="238232" y="648085"/>
                    <a:pt x="242010" y="647092"/>
                    <a:pt x="245608" y="647994"/>
                  </a:cubicBezTo>
                  <a:cubicBezTo>
                    <a:pt x="255777" y="650251"/>
                    <a:pt x="264682" y="655937"/>
                    <a:pt x="274579" y="659367"/>
                  </a:cubicBezTo>
                  <a:cubicBezTo>
                    <a:pt x="283756" y="662526"/>
                    <a:pt x="293201" y="664873"/>
                    <a:pt x="302830" y="666227"/>
                  </a:cubicBezTo>
                  <a:cubicBezTo>
                    <a:pt x="322173" y="668574"/>
                    <a:pt x="341695" y="666858"/>
                    <a:pt x="360317" y="661172"/>
                  </a:cubicBezTo>
                  <a:cubicBezTo>
                    <a:pt x="390817" y="652146"/>
                    <a:pt x="417539" y="633191"/>
                    <a:pt x="436341" y="607377"/>
                  </a:cubicBezTo>
                  <a:cubicBezTo>
                    <a:pt x="457305" y="577952"/>
                    <a:pt x="465853" y="542660"/>
                    <a:pt x="468999" y="507099"/>
                  </a:cubicBezTo>
                  <a:cubicBezTo>
                    <a:pt x="472599" y="466120"/>
                    <a:pt x="471160" y="424872"/>
                    <a:pt x="471520" y="383803"/>
                  </a:cubicBezTo>
                  <a:cubicBezTo>
                    <a:pt x="471698" y="362231"/>
                    <a:pt x="471520" y="340569"/>
                    <a:pt x="471698" y="318996"/>
                  </a:cubicBezTo>
                  <a:cubicBezTo>
                    <a:pt x="471788" y="298417"/>
                    <a:pt x="471250" y="277839"/>
                    <a:pt x="472599" y="257260"/>
                  </a:cubicBezTo>
                  <a:cubicBezTo>
                    <a:pt x="471520" y="257079"/>
                    <a:pt x="470620" y="256627"/>
                    <a:pt x="469719" y="255995"/>
                  </a:cubicBezTo>
                  <a:cubicBezTo>
                    <a:pt x="460094" y="248954"/>
                    <a:pt x="452446" y="238937"/>
                    <a:pt x="443181" y="231173"/>
                  </a:cubicBezTo>
                  <a:cubicBezTo>
                    <a:pt x="433732" y="223412"/>
                    <a:pt x="423654" y="216462"/>
                    <a:pt x="413041" y="210413"/>
                  </a:cubicBezTo>
                  <a:cubicBezTo>
                    <a:pt x="373456" y="187848"/>
                    <a:pt x="327752" y="178102"/>
                    <a:pt x="282407" y="178912"/>
                  </a:cubicBezTo>
                  <a:cubicBezTo>
                    <a:pt x="257574" y="179455"/>
                    <a:pt x="232925" y="182434"/>
                    <a:pt x="208632" y="187760"/>
                  </a:cubicBezTo>
                  <a:lnTo>
                    <a:pt x="133148" y="207978"/>
                  </a:lnTo>
                  <a:cubicBezTo>
                    <a:pt x="117676" y="197235"/>
                    <a:pt x="100130" y="189565"/>
                    <a:pt x="83037" y="181621"/>
                  </a:cubicBezTo>
                  <a:cubicBezTo>
                    <a:pt x="81240" y="188661"/>
                    <a:pt x="76109" y="195431"/>
                    <a:pt x="72960" y="201658"/>
                  </a:cubicBezTo>
                  <a:cubicBezTo>
                    <a:pt x="68822" y="209964"/>
                    <a:pt x="64956" y="218447"/>
                    <a:pt x="61534" y="227112"/>
                  </a:cubicBezTo>
                  <a:cubicBezTo>
                    <a:pt x="54698" y="244532"/>
                    <a:pt x="49211" y="262493"/>
                    <a:pt x="45073" y="280726"/>
                  </a:cubicBezTo>
                  <a:cubicBezTo>
                    <a:pt x="40843" y="299410"/>
                    <a:pt x="38506" y="318366"/>
                    <a:pt x="36164" y="337319"/>
                  </a:cubicBezTo>
                  <a:cubicBezTo>
                    <a:pt x="34996" y="346706"/>
                    <a:pt x="33735" y="356094"/>
                    <a:pt x="33195" y="365391"/>
                  </a:cubicBezTo>
                  <a:cubicBezTo>
                    <a:pt x="32927" y="370446"/>
                    <a:pt x="33014" y="375589"/>
                    <a:pt x="32927" y="380644"/>
                  </a:cubicBezTo>
                  <a:cubicBezTo>
                    <a:pt x="32834" y="384074"/>
                    <a:pt x="31758" y="391386"/>
                    <a:pt x="34723" y="394635"/>
                  </a:cubicBezTo>
                  <a:cubicBezTo>
                    <a:pt x="34996" y="394905"/>
                    <a:pt x="35264" y="395086"/>
                    <a:pt x="35536" y="395266"/>
                  </a:cubicBezTo>
                  <a:cubicBezTo>
                    <a:pt x="51821" y="390303"/>
                    <a:pt x="70623" y="395808"/>
                    <a:pt x="78091" y="412506"/>
                  </a:cubicBezTo>
                  <a:cubicBezTo>
                    <a:pt x="78359" y="413047"/>
                    <a:pt x="78179" y="413680"/>
                    <a:pt x="77638" y="413951"/>
                  </a:cubicBezTo>
                  <a:cubicBezTo>
                    <a:pt x="77278" y="414130"/>
                    <a:pt x="76742" y="414040"/>
                    <a:pt x="76470" y="413770"/>
                  </a:cubicBezTo>
                  <a:cubicBezTo>
                    <a:pt x="61266" y="400953"/>
                    <a:pt x="34903" y="408264"/>
                    <a:pt x="26539" y="425594"/>
                  </a:cubicBezTo>
                  <a:cubicBezTo>
                    <a:pt x="22849" y="433988"/>
                    <a:pt x="21949" y="443285"/>
                    <a:pt x="24110" y="452131"/>
                  </a:cubicBezTo>
                  <a:cubicBezTo>
                    <a:pt x="26447" y="462330"/>
                    <a:pt x="32747" y="470814"/>
                    <a:pt x="36705" y="480382"/>
                  </a:cubicBezTo>
                  <a:cubicBezTo>
                    <a:pt x="38774" y="485707"/>
                    <a:pt x="40122" y="491213"/>
                    <a:pt x="40843" y="496809"/>
                  </a:cubicBezTo>
                  <a:cubicBezTo>
                    <a:pt x="41383" y="500329"/>
                    <a:pt x="41563" y="505384"/>
                    <a:pt x="44173" y="508091"/>
                  </a:cubicBezTo>
                  <a:cubicBezTo>
                    <a:pt x="46870" y="510980"/>
                    <a:pt x="52177" y="511431"/>
                    <a:pt x="55867" y="512243"/>
                  </a:cubicBezTo>
                  <a:cubicBezTo>
                    <a:pt x="60905" y="513237"/>
                    <a:pt x="65852" y="514861"/>
                    <a:pt x="70530" y="517208"/>
                  </a:cubicBezTo>
                  <a:cubicBezTo>
                    <a:pt x="88616" y="526685"/>
                    <a:pt x="97881" y="548889"/>
                    <a:pt x="110748" y="563963"/>
                  </a:cubicBezTo>
                  <a:cubicBezTo>
                    <a:pt x="118216" y="572627"/>
                    <a:pt x="126224" y="580751"/>
                    <a:pt x="134861" y="588152"/>
                  </a:cubicBezTo>
                  <a:cubicBezTo>
                    <a:pt x="143045" y="595373"/>
                    <a:pt x="156272" y="601240"/>
                    <a:pt x="157353" y="613064"/>
                  </a:cubicBezTo>
                  <a:cubicBezTo>
                    <a:pt x="157713" y="616945"/>
                    <a:pt x="154291" y="620826"/>
                    <a:pt x="150693" y="621819"/>
                  </a:cubicBezTo>
                  <a:cubicBezTo>
                    <a:pt x="141969" y="624256"/>
                    <a:pt x="135669" y="618209"/>
                    <a:pt x="129190" y="613064"/>
                  </a:cubicBezTo>
                  <a:cubicBezTo>
                    <a:pt x="123255" y="608370"/>
                    <a:pt x="117496" y="603406"/>
                    <a:pt x="112009" y="598171"/>
                  </a:cubicBezTo>
                  <a:cubicBezTo>
                    <a:pt x="101211" y="587701"/>
                    <a:pt x="91406" y="576328"/>
                    <a:pt x="82677" y="564053"/>
                  </a:cubicBezTo>
                  <a:cubicBezTo>
                    <a:pt x="76382" y="555207"/>
                    <a:pt x="71071" y="543834"/>
                    <a:pt x="61986" y="537426"/>
                  </a:cubicBezTo>
                  <a:cubicBezTo>
                    <a:pt x="52717" y="531018"/>
                    <a:pt x="40215" y="532642"/>
                    <a:pt x="31126" y="525060"/>
                  </a:cubicBezTo>
                  <a:cubicBezTo>
                    <a:pt x="20152" y="516034"/>
                    <a:pt x="22401" y="503578"/>
                    <a:pt x="19159" y="491213"/>
                  </a:cubicBezTo>
                  <a:cubicBezTo>
                    <a:pt x="16102" y="479389"/>
                    <a:pt x="8005" y="469550"/>
                    <a:pt x="5484" y="457275"/>
                  </a:cubicBezTo>
                  <a:cubicBezTo>
                    <a:pt x="1078" y="435433"/>
                    <a:pt x="7733" y="408715"/>
                    <a:pt x="28969" y="397884"/>
                  </a:cubicBezTo>
                  <a:cubicBezTo>
                    <a:pt x="30225" y="397252"/>
                    <a:pt x="31578" y="396711"/>
                    <a:pt x="32927" y="396169"/>
                  </a:cubicBezTo>
                  <a:cubicBezTo>
                    <a:pt x="32474" y="395899"/>
                    <a:pt x="32114" y="395537"/>
                    <a:pt x="31758" y="395176"/>
                  </a:cubicBezTo>
                  <a:cubicBezTo>
                    <a:pt x="29417" y="392559"/>
                    <a:pt x="28428" y="388135"/>
                    <a:pt x="27616" y="384796"/>
                  </a:cubicBezTo>
                  <a:cubicBezTo>
                    <a:pt x="25186" y="374417"/>
                    <a:pt x="23838" y="363586"/>
                    <a:pt x="22401" y="353024"/>
                  </a:cubicBezTo>
                  <a:cubicBezTo>
                    <a:pt x="19519" y="331543"/>
                    <a:pt x="21048" y="309699"/>
                    <a:pt x="24470" y="288399"/>
                  </a:cubicBezTo>
                  <a:cubicBezTo>
                    <a:pt x="27708" y="268271"/>
                    <a:pt x="32747" y="248595"/>
                    <a:pt x="39674" y="229459"/>
                  </a:cubicBezTo>
                  <a:cubicBezTo>
                    <a:pt x="37153" y="227744"/>
                    <a:pt x="35264" y="225127"/>
                    <a:pt x="34275" y="222238"/>
                  </a:cubicBezTo>
                  <a:cubicBezTo>
                    <a:pt x="32026" y="215559"/>
                    <a:pt x="34095" y="208789"/>
                    <a:pt x="35356" y="202110"/>
                  </a:cubicBezTo>
                  <a:cubicBezTo>
                    <a:pt x="35804" y="200034"/>
                    <a:pt x="36256" y="198049"/>
                    <a:pt x="36705" y="195973"/>
                  </a:cubicBezTo>
                  <a:cubicBezTo>
                    <a:pt x="35624" y="129902"/>
                    <a:pt x="90953" y="75113"/>
                    <a:pt x="145206" y="44787"/>
                  </a:cubicBezTo>
                  <a:cubicBezTo>
                    <a:pt x="206115" y="10759"/>
                    <a:pt x="278717" y="-3503"/>
                    <a:pt x="347902" y="4080"/>
                  </a:cubicBezTo>
                  <a:cubicBezTo>
                    <a:pt x="382633" y="7870"/>
                    <a:pt x="417179" y="16535"/>
                    <a:pt x="447499" y="34137"/>
                  </a:cubicBezTo>
                  <a:cubicBezTo>
                    <a:pt x="475298" y="50114"/>
                    <a:pt x="497880" y="73760"/>
                    <a:pt x="512904" y="102101"/>
                  </a:cubicBezTo>
                  <a:cubicBezTo>
                    <a:pt x="527030" y="129179"/>
                    <a:pt x="534228" y="160140"/>
                    <a:pt x="535036" y="190647"/>
                  </a:cubicBezTo>
                  <a:cubicBezTo>
                    <a:pt x="535396" y="206081"/>
                    <a:pt x="534047" y="221517"/>
                    <a:pt x="530988" y="236590"/>
                  </a:cubicBezTo>
                  <a:cubicBezTo>
                    <a:pt x="529549" y="244172"/>
                    <a:pt x="527300" y="252566"/>
                    <a:pt x="529099" y="260237"/>
                  </a:cubicBezTo>
                  <a:cubicBezTo>
                    <a:pt x="530808" y="267729"/>
                    <a:pt x="537735" y="271881"/>
                    <a:pt x="542954" y="276755"/>
                  </a:cubicBezTo>
                  <a:cubicBezTo>
                    <a:pt x="566525" y="299501"/>
                    <a:pt x="577771" y="332176"/>
                    <a:pt x="573452" y="364668"/>
                  </a:cubicBezTo>
                  <a:cubicBezTo>
                    <a:pt x="569584" y="392198"/>
                    <a:pt x="552939" y="420900"/>
                    <a:pt x="528649" y="435522"/>
                  </a:cubicBezTo>
                  <a:cubicBezTo>
                    <a:pt x="532249" y="439765"/>
                    <a:pt x="535126" y="444638"/>
                    <a:pt x="537105" y="449874"/>
                  </a:cubicBezTo>
                  <a:cubicBezTo>
                    <a:pt x="541874" y="461969"/>
                    <a:pt x="541513" y="475417"/>
                    <a:pt x="536297" y="487242"/>
                  </a:cubicBezTo>
                  <a:cubicBezTo>
                    <a:pt x="530988" y="499517"/>
                    <a:pt x="520462" y="514410"/>
                    <a:pt x="508406" y="520818"/>
                  </a:cubicBezTo>
                  <a:cubicBezTo>
                    <a:pt x="502559" y="524158"/>
                    <a:pt x="495541" y="524970"/>
                    <a:pt x="489064" y="523075"/>
                  </a:cubicBezTo>
                  <a:cubicBezTo>
                    <a:pt x="485103" y="566310"/>
                    <a:pt x="473229" y="607558"/>
                    <a:pt x="442368" y="640774"/>
                  </a:cubicBezTo>
                  <a:cubicBezTo>
                    <a:pt x="417627" y="667491"/>
                    <a:pt x="383801" y="685993"/>
                    <a:pt x="347634" y="691139"/>
                  </a:cubicBezTo>
                  <a:cubicBezTo>
                    <a:pt x="339806" y="692222"/>
                    <a:pt x="331798" y="692763"/>
                    <a:pt x="323881" y="692763"/>
                  </a:cubicBezTo>
                  <a:cubicBezTo>
                    <a:pt x="312007" y="692674"/>
                    <a:pt x="300041" y="691589"/>
                    <a:pt x="288435" y="689333"/>
                  </a:cubicBezTo>
                  <a:close/>
                  <a:moveTo>
                    <a:pt x="71163" y="475146"/>
                  </a:moveTo>
                  <a:cubicBezTo>
                    <a:pt x="67745" y="468467"/>
                    <a:pt x="65136" y="462330"/>
                    <a:pt x="59557" y="456914"/>
                  </a:cubicBezTo>
                  <a:cubicBezTo>
                    <a:pt x="53890" y="451589"/>
                    <a:pt x="47050" y="447527"/>
                    <a:pt x="39674" y="445090"/>
                  </a:cubicBezTo>
                  <a:cubicBezTo>
                    <a:pt x="39222" y="444909"/>
                    <a:pt x="38954" y="444459"/>
                    <a:pt x="39134" y="444007"/>
                  </a:cubicBezTo>
                  <a:cubicBezTo>
                    <a:pt x="39222" y="443646"/>
                    <a:pt x="39494" y="443465"/>
                    <a:pt x="39854" y="443465"/>
                  </a:cubicBezTo>
                  <a:cubicBezTo>
                    <a:pt x="48671" y="443014"/>
                    <a:pt x="57395" y="445361"/>
                    <a:pt x="64863" y="450055"/>
                  </a:cubicBezTo>
                  <a:cubicBezTo>
                    <a:pt x="72599" y="454747"/>
                    <a:pt x="79707" y="461607"/>
                    <a:pt x="83217" y="470092"/>
                  </a:cubicBezTo>
                  <a:cubicBezTo>
                    <a:pt x="85106" y="474696"/>
                    <a:pt x="80700" y="478306"/>
                    <a:pt x="76470" y="478306"/>
                  </a:cubicBezTo>
                  <a:cubicBezTo>
                    <a:pt x="74313" y="478395"/>
                    <a:pt x="72151" y="477133"/>
                    <a:pt x="71163" y="475146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C3A93201-D444-055B-38AF-F42ADC72CBF8}"/>
                </a:ext>
              </a:extLst>
            </p:cNvPr>
            <p:cNvSpPr/>
            <p:nvPr/>
          </p:nvSpPr>
          <p:spPr>
            <a:xfrm>
              <a:off x="2889291" y="3354076"/>
              <a:ext cx="93873" cy="46313"/>
            </a:xfrm>
            <a:custGeom>
              <a:avLst/>
              <a:gdLst>
                <a:gd name="connsiteX0" fmla="*/ 49122 w 93873"/>
                <a:gd name="connsiteY0" fmla="*/ 47549 h 46313"/>
                <a:gd name="connsiteX1" fmla="*/ 9734 w 93873"/>
                <a:gd name="connsiteY1" fmla="*/ 29317 h 46313"/>
                <a:gd name="connsiteX2" fmla="*/ 4489 w 93873"/>
                <a:gd name="connsiteY2" fmla="*/ 1246 h 46313"/>
                <a:gd name="connsiteX3" fmla="*/ 7979 w 93873"/>
                <a:gd name="connsiteY3" fmla="*/ 3322 h 46313"/>
                <a:gd name="connsiteX4" fmla="*/ 75932 w 93873"/>
                <a:gd name="connsiteY4" fmla="*/ 14244 h 46313"/>
                <a:gd name="connsiteX5" fmla="*/ 82914 w 93873"/>
                <a:gd name="connsiteY5" fmla="*/ 10724 h 46313"/>
                <a:gd name="connsiteX6" fmla="*/ 82977 w 93873"/>
                <a:gd name="connsiteY6" fmla="*/ 10724 h 46313"/>
                <a:gd name="connsiteX7" fmla="*/ 90399 w 93873"/>
                <a:gd name="connsiteY7" fmla="*/ 14063 h 46313"/>
                <a:gd name="connsiteX8" fmla="*/ 93872 w 93873"/>
                <a:gd name="connsiteY8" fmla="*/ 21645 h 46313"/>
                <a:gd name="connsiteX9" fmla="*/ 91002 w 93873"/>
                <a:gd name="connsiteY9" fmla="*/ 29045 h 46313"/>
                <a:gd name="connsiteX10" fmla="*/ 49122 w 93873"/>
                <a:gd name="connsiteY10" fmla="*/ 47549 h 4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873" h="46313">
                  <a:moveTo>
                    <a:pt x="49122" y="47549"/>
                  </a:moveTo>
                  <a:cubicBezTo>
                    <a:pt x="34097" y="47730"/>
                    <a:pt x="19513" y="40599"/>
                    <a:pt x="9734" y="29317"/>
                  </a:cubicBezTo>
                  <a:cubicBezTo>
                    <a:pt x="4354" y="23811"/>
                    <a:pt x="-5930" y="2871"/>
                    <a:pt x="4489" y="1246"/>
                  </a:cubicBezTo>
                  <a:cubicBezTo>
                    <a:pt x="5937" y="1155"/>
                    <a:pt x="7377" y="1968"/>
                    <a:pt x="7979" y="3322"/>
                  </a:cubicBezTo>
                  <a:cubicBezTo>
                    <a:pt x="24093" y="28685"/>
                    <a:pt x="54727" y="38975"/>
                    <a:pt x="75932" y="14244"/>
                  </a:cubicBezTo>
                  <a:cubicBezTo>
                    <a:pt x="77633" y="12077"/>
                    <a:pt x="80188" y="10814"/>
                    <a:pt x="82914" y="10724"/>
                  </a:cubicBezTo>
                  <a:lnTo>
                    <a:pt x="82977" y="10724"/>
                  </a:lnTo>
                  <a:cubicBezTo>
                    <a:pt x="85784" y="10814"/>
                    <a:pt x="88456" y="11987"/>
                    <a:pt x="90399" y="14063"/>
                  </a:cubicBezTo>
                  <a:cubicBezTo>
                    <a:pt x="92450" y="16049"/>
                    <a:pt x="93692" y="18757"/>
                    <a:pt x="93872" y="21645"/>
                  </a:cubicBezTo>
                  <a:cubicBezTo>
                    <a:pt x="93971" y="24443"/>
                    <a:pt x="92936" y="27060"/>
                    <a:pt x="91002" y="29045"/>
                  </a:cubicBezTo>
                  <a:cubicBezTo>
                    <a:pt x="80323" y="40599"/>
                    <a:pt x="64830" y="47549"/>
                    <a:pt x="49122" y="4754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D4D01CCF-20EE-5B67-2309-FBC2E06CDE64}"/>
                </a:ext>
              </a:extLst>
            </p:cNvPr>
            <p:cNvSpPr/>
            <p:nvPr/>
          </p:nvSpPr>
          <p:spPr>
            <a:xfrm>
              <a:off x="2915566" y="3264094"/>
              <a:ext cx="69784" cy="62666"/>
            </a:xfrm>
            <a:custGeom>
              <a:avLst/>
              <a:gdLst>
                <a:gd name="connsiteX0" fmla="*/ 38563 w 69784"/>
                <a:gd name="connsiteY0" fmla="*/ 63879 h 62666"/>
                <a:gd name="connsiteX1" fmla="*/ 3755 w 69784"/>
                <a:gd name="connsiteY1" fmla="*/ 35718 h 62666"/>
                <a:gd name="connsiteX2" fmla="*/ 8820 w 69784"/>
                <a:gd name="connsiteY2" fmla="*/ 33732 h 62666"/>
                <a:gd name="connsiteX3" fmla="*/ 12743 w 69784"/>
                <a:gd name="connsiteY3" fmla="*/ 34996 h 62666"/>
                <a:gd name="connsiteX4" fmla="*/ 52481 w 69784"/>
                <a:gd name="connsiteY4" fmla="*/ 43751 h 62666"/>
                <a:gd name="connsiteX5" fmla="*/ 38051 w 69784"/>
                <a:gd name="connsiteY5" fmla="*/ 8459 h 62666"/>
                <a:gd name="connsiteX6" fmla="*/ 37151 w 69784"/>
                <a:gd name="connsiteY6" fmla="*/ 4669 h 62666"/>
                <a:gd name="connsiteX7" fmla="*/ 41955 w 69784"/>
                <a:gd name="connsiteY7" fmla="*/ 1239 h 62666"/>
                <a:gd name="connsiteX8" fmla="*/ 69575 w 69784"/>
                <a:gd name="connsiteY8" fmla="*/ 34544 h 62666"/>
                <a:gd name="connsiteX9" fmla="*/ 38563 w 69784"/>
                <a:gd name="connsiteY9" fmla="*/ 63879 h 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784" h="62666">
                  <a:moveTo>
                    <a:pt x="38563" y="63879"/>
                  </a:moveTo>
                  <a:cubicBezTo>
                    <a:pt x="27524" y="64331"/>
                    <a:pt x="-12260" y="50611"/>
                    <a:pt x="3755" y="35718"/>
                  </a:cubicBezTo>
                  <a:cubicBezTo>
                    <a:pt x="5158" y="34454"/>
                    <a:pt x="6949" y="33823"/>
                    <a:pt x="8820" y="33732"/>
                  </a:cubicBezTo>
                  <a:cubicBezTo>
                    <a:pt x="10214" y="33732"/>
                    <a:pt x="11582" y="34184"/>
                    <a:pt x="12743" y="34996"/>
                  </a:cubicBezTo>
                  <a:cubicBezTo>
                    <a:pt x="22513" y="42849"/>
                    <a:pt x="40732" y="56659"/>
                    <a:pt x="52481" y="43751"/>
                  </a:cubicBezTo>
                  <a:cubicBezTo>
                    <a:pt x="63934" y="29851"/>
                    <a:pt x="46058" y="12431"/>
                    <a:pt x="38051" y="8459"/>
                  </a:cubicBezTo>
                  <a:cubicBezTo>
                    <a:pt x="36953" y="7557"/>
                    <a:pt x="36593" y="6023"/>
                    <a:pt x="37151" y="4669"/>
                  </a:cubicBezTo>
                  <a:cubicBezTo>
                    <a:pt x="37817" y="2593"/>
                    <a:pt x="39769" y="1239"/>
                    <a:pt x="41955" y="1239"/>
                  </a:cubicBezTo>
                  <a:cubicBezTo>
                    <a:pt x="58428" y="2503"/>
                    <a:pt x="71645" y="17937"/>
                    <a:pt x="69575" y="34544"/>
                  </a:cubicBezTo>
                  <a:cubicBezTo>
                    <a:pt x="68649" y="50521"/>
                    <a:pt x="54803" y="64602"/>
                    <a:pt x="38563" y="6387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CDF10706-0CF5-2D3A-E6F8-0ABD47F099D7}"/>
                </a:ext>
              </a:extLst>
            </p:cNvPr>
            <p:cNvSpPr/>
            <p:nvPr/>
          </p:nvSpPr>
          <p:spPr>
            <a:xfrm>
              <a:off x="2821914" y="3225496"/>
              <a:ext cx="68524" cy="50331"/>
            </a:xfrm>
            <a:custGeom>
              <a:avLst/>
              <a:gdLst>
                <a:gd name="connsiteX0" fmla="*/ 5910 w 68524"/>
                <a:gd name="connsiteY0" fmla="*/ 51570 h 50331"/>
                <a:gd name="connsiteX1" fmla="*/ 4083 w 68524"/>
                <a:gd name="connsiteY1" fmla="*/ 51391 h 50331"/>
                <a:gd name="connsiteX2" fmla="*/ 1573 w 68524"/>
                <a:gd name="connsiteY2" fmla="*/ 49225 h 50331"/>
                <a:gd name="connsiteX3" fmla="*/ 3112 w 68524"/>
                <a:gd name="connsiteY3" fmla="*/ 26027 h 50331"/>
                <a:gd name="connsiteX4" fmla="*/ 63777 w 68524"/>
                <a:gd name="connsiteY4" fmla="*/ 21785 h 50331"/>
                <a:gd name="connsiteX5" fmla="*/ 66701 w 68524"/>
                <a:gd name="connsiteY5" fmla="*/ 26027 h 50331"/>
                <a:gd name="connsiteX6" fmla="*/ 68123 w 68524"/>
                <a:gd name="connsiteY6" fmla="*/ 33880 h 50331"/>
                <a:gd name="connsiteX7" fmla="*/ 62374 w 68524"/>
                <a:gd name="connsiteY7" fmla="*/ 39837 h 50331"/>
                <a:gd name="connsiteX8" fmla="*/ 48905 w 68524"/>
                <a:gd name="connsiteY8" fmla="*/ 34151 h 50331"/>
                <a:gd name="connsiteX9" fmla="*/ 38514 w 68524"/>
                <a:gd name="connsiteY9" fmla="*/ 20341 h 50331"/>
                <a:gd name="connsiteX10" fmla="*/ 27367 w 68524"/>
                <a:gd name="connsiteY10" fmla="*/ 19438 h 50331"/>
                <a:gd name="connsiteX11" fmla="*/ 14403 w 68524"/>
                <a:gd name="connsiteY11" fmla="*/ 32435 h 50331"/>
                <a:gd name="connsiteX12" fmla="*/ 10147 w 68524"/>
                <a:gd name="connsiteY12" fmla="*/ 47599 h 50331"/>
                <a:gd name="connsiteX13" fmla="*/ 6630 w 68524"/>
                <a:gd name="connsiteY13" fmla="*/ 51570 h 50331"/>
                <a:gd name="connsiteX14" fmla="*/ 5910 w 68524"/>
                <a:gd name="connsiteY14" fmla="*/ 51570 h 5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524" h="50331">
                  <a:moveTo>
                    <a:pt x="5910" y="51570"/>
                  </a:moveTo>
                  <a:cubicBezTo>
                    <a:pt x="5289" y="51570"/>
                    <a:pt x="4677" y="51481"/>
                    <a:pt x="4083" y="51391"/>
                  </a:cubicBezTo>
                  <a:cubicBezTo>
                    <a:pt x="2959" y="51029"/>
                    <a:pt x="2032" y="50308"/>
                    <a:pt x="1573" y="49225"/>
                  </a:cubicBezTo>
                  <a:cubicBezTo>
                    <a:pt x="-1612" y="40649"/>
                    <a:pt x="647" y="31894"/>
                    <a:pt x="3112" y="26027"/>
                  </a:cubicBezTo>
                  <a:cubicBezTo>
                    <a:pt x="16310" y="-6466"/>
                    <a:pt x="48204" y="-6105"/>
                    <a:pt x="63777" y="21785"/>
                  </a:cubicBezTo>
                  <a:cubicBezTo>
                    <a:pt x="64722" y="23230"/>
                    <a:pt x="65702" y="24583"/>
                    <a:pt x="66701" y="26027"/>
                  </a:cubicBezTo>
                  <a:cubicBezTo>
                    <a:pt x="68456" y="28193"/>
                    <a:pt x="68986" y="31173"/>
                    <a:pt x="68123" y="33880"/>
                  </a:cubicBezTo>
                  <a:cubicBezTo>
                    <a:pt x="67133" y="36588"/>
                    <a:pt x="65046" y="38754"/>
                    <a:pt x="62374" y="39837"/>
                  </a:cubicBezTo>
                  <a:cubicBezTo>
                    <a:pt x="57245" y="42184"/>
                    <a:pt x="50759" y="39566"/>
                    <a:pt x="48905" y="34151"/>
                  </a:cubicBezTo>
                  <a:cubicBezTo>
                    <a:pt x="46332" y="27922"/>
                    <a:pt x="42545" y="22959"/>
                    <a:pt x="38514" y="20341"/>
                  </a:cubicBezTo>
                  <a:cubicBezTo>
                    <a:pt x="35221" y="18084"/>
                    <a:pt x="30966" y="17723"/>
                    <a:pt x="27367" y="19438"/>
                  </a:cubicBezTo>
                  <a:cubicBezTo>
                    <a:pt x="23975" y="21062"/>
                    <a:pt x="18280" y="26117"/>
                    <a:pt x="14403" y="32435"/>
                  </a:cubicBezTo>
                  <a:cubicBezTo>
                    <a:pt x="11425" y="36948"/>
                    <a:pt x="9931" y="42184"/>
                    <a:pt x="10147" y="47599"/>
                  </a:cubicBezTo>
                  <a:cubicBezTo>
                    <a:pt x="10399" y="49675"/>
                    <a:pt x="8600" y="51391"/>
                    <a:pt x="6630" y="51570"/>
                  </a:cubicBezTo>
                  <a:cubicBezTo>
                    <a:pt x="6378" y="51570"/>
                    <a:pt x="6144" y="51570"/>
                    <a:pt x="5910" y="51570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65E46624-C1EE-02E0-75CA-481D6F03130B}"/>
                </a:ext>
              </a:extLst>
            </p:cNvPr>
            <p:cNvSpPr/>
            <p:nvPr/>
          </p:nvSpPr>
          <p:spPr>
            <a:xfrm>
              <a:off x="2974402" y="3223698"/>
              <a:ext cx="52795" cy="33536"/>
            </a:xfrm>
            <a:custGeom>
              <a:avLst/>
              <a:gdLst>
                <a:gd name="connsiteX0" fmla="*/ 44693 w 52795"/>
                <a:gd name="connsiteY0" fmla="*/ 34776 h 33536"/>
                <a:gd name="connsiteX1" fmla="*/ 36533 w 52795"/>
                <a:gd name="connsiteY1" fmla="*/ 28368 h 33536"/>
                <a:gd name="connsiteX2" fmla="*/ 22579 w 52795"/>
                <a:gd name="connsiteY2" fmla="*/ 17176 h 33536"/>
                <a:gd name="connsiteX3" fmla="*/ 11414 w 52795"/>
                <a:gd name="connsiteY3" fmla="*/ 25479 h 33536"/>
                <a:gd name="connsiteX4" fmla="*/ 11360 w 52795"/>
                <a:gd name="connsiteY4" fmla="*/ 25569 h 33536"/>
                <a:gd name="connsiteX5" fmla="*/ 7537 w 52795"/>
                <a:gd name="connsiteY5" fmla="*/ 30624 h 33536"/>
                <a:gd name="connsiteX6" fmla="*/ 4109 w 52795"/>
                <a:gd name="connsiteY6" fmla="*/ 31436 h 33536"/>
                <a:gd name="connsiteX7" fmla="*/ 15 w 52795"/>
                <a:gd name="connsiteY7" fmla="*/ 22501 h 33536"/>
                <a:gd name="connsiteX8" fmla="*/ 3011 w 52795"/>
                <a:gd name="connsiteY8" fmla="*/ 14196 h 33536"/>
                <a:gd name="connsiteX9" fmla="*/ 40816 w 52795"/>
                <a:gd name="connsiteY9" fmla="*/ 6163 h 33536"/>
                <a:gd name="connsiteX10" fmla="*/ 48652 w 52795"/>
                <a:gd name="connsiteY10" fmla="*/ 33602 h 33536"/>
                <a:gd name="connsiteX11" fmla="*/ 44693 w 52795"/>
                <a:gd name="connsiteY11" fmla="*/ 34776 h 3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795" h="33536">
                  <a:moveTo>
                    <a:pt x="44693" y="34776"/>
                  </a:moveTo>
                  <a:cubicBezTo>
                    <a:pt x="41014" y="34685"/>
                    <a:pt x="37307" y="32068"/>
                    <a:pt x="36533" y="28368"/>
                  </a:cubicBezTo>
                  <a:cubicBezTo>
                    <a:pt x="35364" y="21958"/>
                    <a:pt x="29453" y="15821"/>
                    <a:pt x="22579" y="17176"/>
                  </a:cubicBezTo>
                  <a:cubicBezTo>
                    <a:pt x="17829" y="18078"/>
                    <a:pt x="13736" y="21237"/>
                    <a:pt x="11414" y="25479"/>
                  </a:cubicBezTo>
                  <a:lnTo>
                    <a:pt x="11360" y="25569"/>
                  </a:lnTo>
                  <a:cubicBezTo>
                    <a:pt x="10353" y="27464"/>
                    <a:pt x="9057" y="29180"/>
                    <a:pt x="7537" y="30624"/>
                  </a:cubicBezTo>
                  <a:cubicBezTo>
                    <a:pt x="6610" y="31436"/>
                    <a:pt x="5279" y="31798"/>
                    <a:pt x="4109" y="31436"/>
                  </a:cubicBezTo>
                  <a:cubicBezTo>
                    <a:pt x="348" y="27555"/>
                    <a:pt x="-75" y="24847"/>
                    <a:pt x="15" y="22501"/>
                  </a:cubicBezTo>
                  <a:cubicBezTo>
                    <a:pt x="240" y="19521"/>
                    <a:pt x="1275" y="16633"/>
                    <a:pt x="3011" y="14196"/>
                  </a:cubicBezTo>
                  <a:cubicBezTo>
                    <a:pt x="12449" y="928"/>
                    <a:pt x="28247" y="-2863"/>
                    <a:pt x="40816" y="6163"/>
                  </a:cubicBezTo>
                  <a:cubicBezTo>
                    <a:pt x="48310" y="11489"/>
                    <a:pt x="58684" y="26381"/>
                    <a:pt x="48652" y="33602"/>
                  </a:cubicBezTo>
                  <a:cubicBezTo>
                    <a:pt x="47456" y="34324"/>
                    <a:pt x="46088" y="34685"/>
                    <a:pt x="44693" y="34776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CF6C54FF-28B4-22FA-6F44-5F41664E75E5}"/>
                </a:ext>
              </a:extLst>
            </p:cNvPr>
            <p:cNvSpPr/>
            <p:nvPr/>
          </p:nvSpPr>
          <p:spPr>
            <a:xfrm>
              <a:off x="2799466" y="3157050"/>
              <a:ext cx="80400" cy="64802"/>
            </a:xfrm>
            <a:custGeom>
              <a:avLst/>
              <a:gdLst>
                <a:gd name="connsiteX0" fmla="*/ 4552 w 80400"/>
                <a:gd name="connsiteY0" fmla="*/ 66042 h 64802"/>
                <a:gd name="connsiteX1" fmla="*/ 4264 w 80400"/>
                <a:gd name="connsiteY1" fmla="*/ 66042 h 64802"/>
                <a:gd name="connsiteX2" fmla="*/ 2870 w 80400"/>
                <a:gd name="connsiteY2" fmla="*/ 65410 h 64802"/>
                <a:gd name="connsiteX3" fmla="*/ 9 w 80400"/>
                <a:gd name="connsiteY3" fmla="*/ 57016 h 64802"/>
                <a:gd name="connsiteX4" fmla="*/ 45173 w 80400"/>
                <a:gd name="connsiteY4" fmla="*/ 5207 h 64802"/>
                <a:gd name="connsiteX5" fmla="*/ 77084 w 80400"/>
                <a:gd name="connsiteY5" fmla="*/ 6199 h 64802"/>
                <a:gd name="connsiteX6" fmla="*/ 80404 w 80400"/>
                <a:gd name="connsiteY6" fmla="*/ 14413 h 64802"/>
                <a:gd name="connsiteX7" fmla="*/ 77066 w 80400"/>
                <a:gd name="connsiteY7" fmla="*/ 22718 h 64802"/>
                <a:gd name="connsiteX8" fmla="*/ 54691 w 80400"/>
                <a:gd name="connsiteY8" fmla="*/ 29397 h 64802"/>
                <a:gd name="connsiteX9" fmla="*/ 10148 w 80400"/>
                <a:gd name="connsiteY9" fmla="*/ 58912 h 64802"/>
                <a:gd name="connsiteX10" fmla="*/ 7332 w 80400"/>
                <a:gd name="connsiteY10" fmla="*/ 63966 h 64802"/>
                <a:gd name="connsiteX11" fmla="*/ 5875 w 80400"/>
                <a:gd name="connsiteY11" fmla="*/ 65772 h 64802"/>
                <a:gd name="connsiteX12" fmla="*/ 4552 w 80400"/>
                <a:gd name="connsiteY12" fmla="*/ 66042 h 64802"/>
                <a:gd name="connsiteX13" fmla="*/ 4552 w 80400"/>
                <a:gd name="connsiteY13" fmla="*/ 66042 h 6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400" h="64802">
                  <a:moveTo>
                    <a:pt x="4552" y="66042"/>
                  </a:moveTo>
                  <a:cubicBezTo>
                    <a:pt x="4453" y="66042"/>
                    <a:pt x="4363" y="66042"/>
                    <a:pt x="4264" y="66042"/>
                  </a:cubicBezTo>
                  <a:cubicBezTo>
                    <a:pt x="3742" y="65951"/>
                    <a:pt x="3257" y="65681"/>
                    <a:pt x="2870" y="65410"/>
                  </a:cubicBezTo>
                  <a:cubicBezTo>
                    <a:pt x="899" y="63695"/>
                    <a:pt x="-63" y="60897"/>
                    <a:pt x="9" y="57016"/>
                  </a:cubicBezTo>
                  <a:cubicBezTo>
                    <a:pt x="2168" y="34000"/>
                    <a:pt x="23167" y="13240"/>
                    <a:pt x="45173" y="5207"/>
                  </a:cubicBezTo>
                  <a:cubicBezTo>
                    <a:pt x="53729" y="1777"/>
                    <a:pt x="68924" y="-2104"/>
                    <a:pt x="77084" y="6199"/>
                  </a:cubicBezTo>
                  <a:cubicBezTo>
                    <a:pt x="79252" y="8365"/>
                    <a:pt x="80458" y="11345"/>
                    <a:pt x="80404" y="14413"/>
                  </a:cubicBezTo>
                  <a:cubicBezTo>
                    <a:pt x="80449" y="17482"/>
                    <a:pt x="79243" y="20461"/>
                    <a:pt x="77066" y="22718"/>
                  </a:cubicBezTo>
                  <a:cubicBezTo>
                    <a:pt x="71182" y="28674"/>
                    <a:pt x="62267" y="27681"/>
                    <a:pt x="54691" y="29397"/>
                  </a:cubicBezTo>
                  <a:cubicBezTo>
                    <a:pt x="36653" y="33097"/>
                    <a:pt x="21088" y="44109"/>
                    <a:pt x="10148" y="58912"/>
                  </a:cubicBezTo>
                  <a:cubicBezTo>
                    <a:pt x="9149" y="60536"/>
                    <a:pt x="8340" y="62521"/>
                    <a:pt x="7332" y="63966"/>
                  </a:cubicBezTo>
                  <a:cubicBezTo>
                    <a:pt x="6576" y="65320"/>
                    <a:pt x="6181" y="65591"/>
                    <a:pt x="5875" y="65772"/>
                  </a:cubicBezTo>
                  <a:cubicBezTo>
                    <a:pt x="5461" y="65951"/>
                    <a:pt x="5011" y="66042"/>
                    <a:pt x="4552" y="66042"/>
                  </a:cubicBezTo>
                  <a:lnTo>
                    <a:pt x="4552" y="66042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15C7E79E-EAE0-979E-BE18-FC28419023F2}"/>
                </a:ext>
              </a:extLst>
            </p:cNvPr>
            <p:cNvSpPr/>
            <p:nvPr/>
          </p:nvSpPr>
          <p:spPr>
            <a:xfrm>
              <a:off x="2961965" y="3153214"/>
              <a:ext cx="73522" cy="65750"/>
            </a:xfrm>
            <a:custGeom>
              <a:avLst/>
              <a:gdLst>
                <a:gd name="connsiteX0" fmla="*/ 67917 w 73522"/>
                <a:gd name="connsiteY0" fmla="*/ 66989 h 65750"/>
                <a:gd name="connsiteX1" fmla="*/ 65461 w 73522"/>
                <a:gd name="connsiteY1" fmla="*/ 65094 h 65750"/>
                <a:gd name="connsiteX2" fmla="*/ 44822 w 73522"/>
                <a:gd name="connsiteY2" fmla="*/ 36481 h 65750"/>
                <a:gd name="connsiteX3" fmla="*/ 25587 w 73522"/>
                <a:gd name="connsiteY3" fmla="*/ 30073 h 65750"/>
                <a:gd name="connsiteX4" fmla="*/ 153 w 73522"/>
                <a:gd name="connsiteY4" fmla="*/ 11389 h 65750"/>
                <a:gd name="connsiteX5" fmla="*/ 35574 w 73522"/>
                <a:gd name="connsiteY5" fmla="*/ 7056 h 65750"/>
                <a:gd name="connsiteX6" fmla="*/ 35592 w 73522"/>
                <a:gd name="connsiteY6" fmla="*/ 7056 h 65750"/>
                <a:gd name="connsiteX7" fmla="*/ 37085 w 73522"/>
                <a:gd name="connsiteY7" fmla="*/ 7688 h 65750"/>
                <a:gd name="connsiteX8" fmla="*/ 60441 w 73522"/>
                <a:gd name="connsiteY8" fmla="*/ 23304 h 65750"/>
                <a:gd name="connsiteX9" fmla="*/ 67917 w 73522"/>
                <a:gd name="connsiteY9" fmla="*/ 66989 h 65750"/>
                <a:gd name="connsiteX10" fmla="*/ 67917 w 73522"/>
                <a:gd name="connsiteY10" fmla="*/ 66989 h 6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22" h="65750">
                  <a:moveTo>
                    <a:pt x="67917" y="66989"/>
                  </a:moveTo>
                  <a:cubicBezTo>
                    <a:pt x="66784" y="66989"/>
                    <a:pt x="65695" y="66177"/>
                    <a:pt x="65461" y="65094"/>
                  </a:cubicBezTo>
                  <a:cubicBezTo>
                    <a:pt x="62258" y="50923"/>
                    <a:pt x="55897" y="42168"/>
                    <a:pt x="44822" y="36481"/>
                  </a:cubicBezTo>
                  <a:cubicBezTo>
                    <a:pt x="38678" y="33592"/>
                    <a:pt x="32227" y="31426"/>
                    <a:pt x="25587" y="30073"/>
                  </a:cubicBezTo>
                  <a:cubicBezTo>
                    <a:pt x="14854" y="28538"/>
                    <a:pt x="-1736" y="26282"/>
                    <a:pt x="153" y="11389"/>
                  </a:cubicBezTo>
                  <a:cubicBezTo>
                    <a:pt x="3959" y="-4857"/>
                    <a:pt x="25677" y="2092"/>
                    <a:pt x="35574" y="7056"/>
                  </a:cubicBezTo>
                  <a:lnTo>
                    <a:pt x="35592" y="7056"/>
                  </a:lnTo>
                  <a:cubicBezTo>
                    <a:pt x="36096" y="7237"/>
                    <a:pt x="36590" y="7508"/>
                    <a:pt x="37085" y="7688"/>
                  </a:cubicBezTo>
                  <a:cubicBezTo>
                    <a:pt x="45884" y="11208"/>
                    <a:pt x="53846" y="16534"/>
                    <a:pt x="60441" y="23304"/>
                  </a:cubicBezTo>
                  <a:cubicBezTo>
                    <a:pt x="69842" y="32509"/>
                    <a:pt x="80198" y="58054"/>
                    <a:pt x="67917" y="66989"/>
                  </a:cubicBezTo>
                  <a:lnTo>
                    <a:pt x="67917" y="66989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6" name="Rounded Rectangle 16">
              <a:extLst>
                <a:ext uri="{FF2B5EF4-FFF2-40B4-BE49-F238E27FC236}">
                  <a16:creationId xmlns:a16="http://schemas.microsoft.com/office/drawing/2014/main" id="{BA2EEBA1-7FC5-66F4-3012-271C98AC4929}"/>
                </a:ext>
              </a:extLst>
            </p:cNvPr>
            <p:cNvSpPr/>
            <p:nvPr/>
          </p:nvSpPr>
          <p:spPr>
            <a:xfrm>
              <a:off x="871256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EC4DC982-C10F-4486-63E8-A2D95BD42019}"/>
                </a:ext>
              </a:extLst>
            </p:cNvPr>
            <p:cNvSpPr txBox="1"/>
            <p:nvPr/>
          </p:nvSpPr>
          <p:spPr>
            <a:xfrm>
              <a:off x="8742952" y="4901285"/>
              <a:ext cx="1305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PPT</a:t>
              </a:r>
            </a:p>
          </p:txBody>
        </p: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30DEE616-E45F-2955-20FC-C9CBC3076EE7}"/>
                </a:ext>
              </a:extLst>
            </p:cNvPr>
            <p:cNvSpPr txBox="1"/>
            <p:nvPr/>
          </p:nvSpPr>
          <p:spPr>
            <a:xfrm>
              <a:off x="8968555" y="4671889"/>
              <a:ext cx="854721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ne Skill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2624A6EF-D1AC-0124-39EF-496B41A4F438}"/>
                </a:ext>
              </a:extLst>
            </p:cNvPr>
            <p:cNvSpPr/>
            <p:nvPr/>
          </p:nvSpPr>
          <p:spPr>
            <a:xfrm>
              <a:off x="8834881" y="3391403"/>
              <a:ext cx="1087969" cy="1058488"/>
            </a:xfrm>
            <a:custGeom>
              <a:avLst/>
              <a:gdLst>
                <a:gd name="connsiteX0" fmla="*/ 1071140 w 1087969"/>
                <a:gd name="connsiteY0" fmla="*/ 1036331 h 1058488"/>
                <a:gd name="connsiteX1" fmla="*/ 1085169 w 1087969"/>
                <a:gd name="connsiteY1" fmla="*/ 971399 h 1058488"/>
                <a:gd name="connsiteX2" fmla="*/ 1052101 w 1087969"/>
                <a:gd name="connsiteY2" fmla="*/ 767232 h 1058488"/>
                <a:gd name="connsiteX3" fmla="*/ 1043305 w 1087969"/>
                <a:gd name="connsiteY3" fmla="*/ 592055 h 1058488"/>
                <a:gd name="connsiteX4" fmla="*/ 972176 w 1087969"/>
                <a:gd name="connsiteY4" fmla="*/ 299853 h 1058488"/>
                <a:gd name="connsiteX5" fmla="*/ 852959 w 1087969"/>
                <a:gd name="connsiteY5" fmla="*/ 171679 h 1058488"/>
                <a:gd name="connsiteX6" fmla="*/ 748699 w 1087969"/>
                <a:gd name="connsiteY6" fmla="*/ 80880 h 1058488"/>
                <a:gd name="connsiteX7" fmla="*/ 744439 w 1087969"/>
                <a:gd name="connsiteY7" fmla="*/ 76956 h 1058488"/>
                <a:gd name="connsiteX8" fmla="*/ 594725 w 1087969"/>
                <a:gd name="connsiteY8" fmla="*/ 4350 h 1058488"/>
                <a:gd name="connsiteX9" fmla="*/ 519266 w 1087969"/>
                <a:gd name="connsiteY9" fmla="*/ 38066 h 1058488"/>
                <a:gd name="connsiteX10" fmla="*/ 360309 w 1087969"/>
                <a:gd name="connsiteY10" fmla="*/ 49840 h 1058488"/>
                <a:gd name="connsiteX11" fmla="*/ 328759 w 1087969"/>
                <a:gd name="connsiteY11" fmla="*/ 104784 h 1058488"/>
                <a:gd name="connsiteX12" fmla="*/ 260595 w 1087969"/>
                <a:gd name="connsiteY12" fmla="*/ 122087 h 1058488"/>
                <a:gd name="connsiteX13" fmla="*/ 213863 w 1087969"/>
                <a:gd name="connsiteY13" fmla="*/ 256771 h 1058488"/>
                <a:gd name="connsiteX14" fmla="*/ 227857 w 1087969"/>
                <a:gd name="connsiteY14" fmla="*/ 268635 h 1058488"/>
                <a:gd name="connsiteX15" fmla="*/ 67114 w 1087969"/>
                <a:gd name="connsiteY15" fmla="*/ 540678 h 1058488"/>
                <a:gd name="connsiteX16" fmla="*/ 34966 w 1087969"/>
                <a:gd name="connsiteY16" fmla="*/ 787747 h 1058488"/>
                <a:gd name="connsiteX17" fmla="*/ 7282 w 1087969"/>
                <a:gd name="connsiteY17" fmla="*/ 888537 h 1058488"/>
                <a:gd name="connsiteX18" fmla="*/ 1031 w 1087969"/>
                <a:gd name="connsiteY18" fmla="*/ 1009840 h 1058488"/>
                <a:gd name="connsiteX19" fmla="*/ 15560 w 1087969"/>
                <a:gd name="connsiteY19" fmla="*/ 1041684 h 1058488"/>
                <a:gd name="connsiteX20" fmla="*/ 839313 w 1087969"/>
                <a:gd name="connsiteY20" fmla="*/ 1036510 h 1058488"/>
                <a:gd name="connsiteX21" fmla="*/ 1071140 w 1087969"/>
                <a:gd name="connsiteY21" fmla="*/ 1036331 h 105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969" h="1058488">
                  <a:moveTo>
                    <a:pt x="1071140" y="1036331"/>
                  </a:moveTo>
                  <a:cubicBezTo>
                    <a:pt x="1097805" y="1035083"/>
                    <a:pt x="1087080" y="988524"/>
                    <a:pt x="1085169" y="971399"/>
                  </a:cubicBezTo>
                  <a:cubicBezTo>
                    <a:pt x="1076212" y="898347"/>
                    <a:pt x="1060415" y="832701"/>
                    <a:pt x="1052101" y="767232"/>
                  </a:cubicBezTo>
                  <a:cubicBezTo>
                    <a:pt x="1046930" y="706133"/>
                    <a:pt x="1048895" y="653152"/>
                    <a:pt x="1043305" y="592055"/>
                  </a:cubicBezTo>
                  <a:cubicBezTo>
                    <a:pt x="1036937" y="520163"/>
                    <a:pt x="1021845" y="389760"/>
                    <a:pt x="972176" y="299853"/>
                  </a:cubicBezTo>
                  <a:cubicBezTo>
                    <a:pt x="944716" y="250171"/>
                    <a:pt x="890768" y="188717"/>
                    <a:pt x="852959" y="171679"/>
                  </a:cubicBezTo>
                  <a:cubicBezTo>
                    <a:pt x="841787" y="122712"/>
                    <a:pt x="806700" y="82217"/>
                    <a:pt x="748699" y="80880"/>
                  </a:cubicBezTo>
                  <a:cubicBezTo>
                    <a:pt x="747056" y="80880"/>
                    <a:pt x="745511" y="78204"/>
                    <a:pt x="744439" y="76956"/>
                  </a:cubicBezTo>
                  <a:cubicBezTo>
                    <a:pt x="704370" y="30218"/>
                    <a:pt x="656236" y="-2339"/>
                    <a:pt x="594725" y="4350"/>
                  </a:cubicBezTo>
                  <a:cubicBezTo>
                    <a:pt x="568953" y="5511"/>
                    <a:pt x="543948" y="32803"/>
                    <a:pt x="519266" y="38066"/>
                  </a:cubicBezTo>
                  <a:cubicBezTo>
                    <a:pt x="505442" y="39939"/>
                    <a:pt x="449610" y="9346"/>
                    <a:pt x="360309" y="49840"/>
                  </a:cubicBezTo>
                  <a:cubicBezTo>
                    <a:pt x="343190" y="58581"/>
                    <a:pt x="341913" y="88817"/>
                    <a:pt x="328759" y="104784"/>
                  </a:cubicBezTo>
                  <a:cubicBezTo>
                    <a:pt x="315604" y="120839"/>
                    <a:pt x="280241" y="109868"/>
                    <a:pt x="260595" y="122087"/>
                  </a:cubicBezTo>
                  <a:cubicBezTo>
                    <a:pt x="187546" y="165436"/>
                    <a:pt x="198262" y="228855"/>
                    <a:pt x="213863" y="256771"/>
                  </a:cubicBezTo>
                  <a:cubicBezTo>
                    <a:pt x="219445" y="266673"/>
                    <a:pt x="227116" y="267921"/>
                    <a:pt x="227857" y="268635"/>
                  </a:cubicBezTo>
                  <a:cubicBezTo>
                    <a:pt x="161595" y="360682"/>
                    <a:pt x="93913" y="428114"/>
                    <a:pt x="67114" y="540678"/>
                  </a:cubicBezTo>
                  <a:cubicBezTo>
                    <a:pt x="49745" y="624253"/>
                    <a:pt x="49513" y="703726"/>
                    <a:pt x="34966" y="787747"/>
                  </a:cubicBezTo>
                  <a:cubicBezTo>
                    <a:pt x="29831" y="816824"/>
                    <a:pt x="15801" y="860261"/>
                    <a:pt x="7282" y="888537"/>
                  </a:cubicBezTo>
                  <a:cubicBezTo>
                    <a:pt x="-1960" y="925552"/>
                    <a:pt x="2817" y="990218"/>
                    <a:pt x="1031" y="1009840"/>
                  </a:cubicBezTo>
                  <a:cubicBezTo>
                    <a:pt x="138" y="1023220"/>
                    <a:pt x="5728" y="1041684"/>
                    <a:pt x="15560" y="1041684"/>
                  </a:cubicBezTo>
                  <a:cubicBezTo>
                    <a:pt x="288225" y="1086817"/>
                    <a:pt x="565184" y="1043556"/>
                    <a:pt x="839313" y="1036510"/>
                  </a:cubicBezTo>
                  <a:cubicBezTo>
                    <a:pt x="916550" y="1033746"/>
                    <a:pt x="993885" y="1033211"/>
                    <a:pt x="1071140" y="1036331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5D179D5C-B0FB-7B7C-299C-968557AE50E0}"/>
                </a:ext>
              </a:extLst>
            </p:cNvPr>
            <p:cNvSpPr/>
            <p:nvPr/>
          </p:nvSpPr>
          <p:spPr>
            <a:xfrm>
              <a:off x="8827170" y="3417047"/>
              <a:ext cx="1099134" cy="1033597"/>
            </a:xfrm>
            <a:custGeom>
              <a:avLst/>
              <a:gdLst>
                <a:gd name="connsiteX0" fmla="*/ 520877 w 1099134"/>
                <a:gd name="connsiteY0" fmla="*/ 94749 h 1033597"/>
                <a:gd name="connsiteX1" fmla="*/ 542131 w 1099134"/>
                <a:gd name="connsiteY1" fmla="*/ 125166 h 1033597"/>
                <a:gd name="connsiteX2" fmla="*/ 665394 w 1099134"/>
                <a:gd name="connsiteY2" fmla="*/ 222030 h 1033597"/>
                <a:gd name="connsiteX3" fmla="*/ 761991 w 1099134"/>
                <a:gd name="connsiteY3" fmla="*/ 126771 h 1033597"/>
                <a:gd name="connsiteX4" fmla="*/ 766010 w 1099134"/>
                <a:gd name="connsiteY4" fmla="*/ 94481 h 1033597"/>
                <a:gd name="connsiteX5" fmla="*/ 754883 w 1099134"/>
                <a:gd name="connsiteY5" fmla="*/ 55862 h 1033597"/>
                <a:gd name="connsiteX6" fmla="*/ 756794 w 1099134"/>
                <a:gd name="connsiteY6" fmla="*/ 53364 h 1033597"/>
                <a:gd name="connsiteX7" fmla="*/ 842095 w 1099134"/>
                <a:gd name="connsiteY7" fmla="*/ 95821 h 1033597"/>
                <a:gd name="connsiteX8" fmla="*/ 867367 w 1099134"/>
                <a:gd name="connsiteY8" fmla="*/ 150049 h 1033597"/>
                <a:gd name="connsiteX9" fmla="*/ 989934 w 1099134"/>
                <a:gd name="connsiteY9" fmla="*/ 295169 h 1033597"/>
                <a:gd name="connsiteX10" fmla="*/ 1048649 w 1099134"/>
                <a:gd name="connsiteY10" fmla="*/ 563199 h 1033597"/>
                <a:gd name="connsiteX11" fmla="*/ 1061151 w 1099134"/>
                <a:gd name="connsiteY11" fmla="*/ 752291 h 1033597"/>
                <a:gd name="connsiteX12" fmla="*/ 1098212 w 1099134"/>
                <a:gd name="connsiteY12" fmla="*/ 948519 h 1033597"/>
                <a:gd name="connsiteX13" fmla="*/ 1079190 w 1099134"/>
                <a:gd name="connsiteY13" fmla="*/ 1011491 h 1033597"/>
                <a:gd name="connsiteX14" fmla="*/ 847346 w 1099134"/>
                <a:gd name="connsiteY14" fmla="*/ 1011581 h 1033597"/>
                <a:gd name="connsiteX15" fmla="*/ 23593 w 1099134"/>
                <a:gd name="connsiteY15" fmla="*/ 1016755 h 1033597"/>
                <a:gd name="connsiteX16" fmla="*/ 40882 w 1099134"/>
                <a:gd name="connsiteY16" fmla="*/ 777266 h 1033597"/>
                <a:gd name="connsiteX17" fmla="*/ 73629 w 1099134"/>
                <a:gd name="connsiteY17" fmla="*/ 512091 h 1033597"/>
                <a:gd name="connsiteX18" fmla="*/ 230201 w 1099134"/>
                <a:gd name="connsiteY18" fmla="*/ 251643 h 1033597"/>
                <a:gd name="connsiteX19" fmla="*/ 226031 w 1099134"/>
                <a:gd name="connsiteY19" fmla="*/ 237907 h 1033597"/>
                <a:gd name="connsiteX20" fmla="*/ 269655 w 1099134"/>
                <a:gd name="connsiteY20" fmla="*/ 95106 h 1033597"/>
                <a:gd name="connsiteX21" fmla="*/ 335577 w 1099134"/>
                <a:gd name="connsiteY21" fmla="*/ 79765 h 1033597"/>
                <a:gd name="connsiteX22" fmla="*/ 371896 w 1099134"/>
                <a:gd name="connsiteY22" fmla="*/ 20896 h 1033597"/>
                <a:gd name="connsiteX23" fmla="*/ 527352 w 1099134"/>
                <a:gd name="connsiteY23" fmla="*/ 10372 h 1033597"/>
                <a:gd name="connsiteX24" fmla="*/ 546775 w 1099134"/>
                <a:gd name="connsiteY24" fmla="*/ 3503 h 1033597"/>
                <a:gd name="connsiteX25" fmla="*/ 545534 w 1099134"/>
                <a:gd name="connsiteY25" fmla="*/ 9213 h 1033597"/>
                <a:gd name="connsiteX26" fmla="*/ 529852 w 1099134"/>
                <a:gd name="connsiteY26" fmla="*/ 72361 h 1033597"/>
                <a:gd name="connsiteX27" fmla="*/ 520877 w 1099134"/>
                <a:gd name="connsiteY27" fmla="*/ 94749 h 1033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99134" h="1033597">
                  <a:moveTo>
                    <a:pt x="520877" y="94749"/>
                  </a:moveTo>
                  <a:cubicBezTo>
                    <a:pt x="520877" y="101528"/>
                    <a:pt x="533201" y="112231"/>
                    <a:pt x="542131" y="125166"/>
                  </a:cubicBezTo>
                  <a:cubicBezTo>
                    <a:pt x="571288" y="167444"/>
                    <a:pt x="638773" y="227472"/>
                    <a:pt x="665394" y="222030"/>
                  </a:cubicBezTo>
                  <a:cubicBezTo>
                    <a:pt x="688577" y="217303"/>
                    <a:pt x="715117" y="183855"/>
                    <a:pt x="761991" y="126771"/>
                  </a:cubicBezTo>
                  <a:cubicBezTo>
                    <a:pt x="761991" y="126771"/>
                    <a:pt x="768269" y="110358"/>
                    <a:pt x="766010" y="94481"/>
                  </a:cubicBezTo>
                  <a:cubicBezTo>
                    <a:pt x="763751" y="78605"/>
                    <a:pt x="754883" y="55862"/>
                    <a:pt x="754883" y="55862"/>
                  </a:cubicBezTo>
                  <a:cubicBezTo>
                    <a:pt x="754446" y="54612"/>
                    <a:pt x="755454" y="53275"/>
                    <a:pt x="756794" y="53364"/>
                  </a:cubicBezTo>
                  <a:cubicBezTo>
                    <a:pt x="790193" y="55415"/>
                    <a:pt x="820627" y="72361"/>
                    <a:pt x="842095" y="95821"/>
                  </a:cubicBezTo>
                  <a:cubicBezTo>
                    <a:pt x="856696" y="111787"/>
                    <a:pt x="862956" y="130695"/>
                    <a:pt x="867367" y="150049"/>
                  </a:cubicBezTo>
                  <a:cubicBezTo>
                    <a:pt x="907142" y="167978"/>
                    <a:pt x="958482" y="223814"/>
                    <a:pt x="989934" y="295169"/>
                  </a:cubicBezTo>
                  <a:cubicBezTo>
                    <a:pt x="1028914" y="383652"/>
                    <a:pt x="1041889" y="493895"/>
                    <a:pt x="1048649" y="563199"/>
                  </a:cubicBezTo>
                  <a:cubicBezTo>
                    <a:pt x="1048649" y="563199"/>
                    <a:pt x="1055981" y="691105"/>
                    <a:pt x="1061151" y="752291"/>
                  </a:cubicBezTo>
                  <a:cubicBezTo>
                    <a:pt x="1069456" y="817761"/>
                    <a:pt x="1098212" y="948519"/>
                    <a:pt x="1098212" y="948519"/>
                  </a:cubicBezTo>
                  <a:cubicBezTo>
                    <a:pt x="1100417" y="966448"/>
                    <a:pt x="1105320" y="1010244"/>
                    <a:pt x="1079190" y="1011491"/>
                  </a:cubicBezTo>
                  <a:cubicBezTo>
                    <a:pt x="1001944" y="1008279"/>
                    <a:pt x="924601" y="1008904"/>
                    <a:pt x="847346" y="1011581"/>
                  </a:cubicBezTo>
                  <a:cubicBezTo>
                    <a:pt x="573217" y="1018627"/>
                    <a:pt x="296258" y="1061975"/>
                    <a:pt x="23593" y="1016755"/>
                  </a:cubicBezTo>
                  <a:cubicBezTo>
                    <a:pt x="-34131" y="1006228"/>
                    <a:pt x="36096" y="804382"/>
                    <a:pt x="40882" y="777266"/>
                  </a:cubicBezTo>
                  <a:cubicBezTo>
                    <a:pt x="55438" y="693246"/>
                    <a:pt x="56260" y="595578"/>
                    <a:pt x="73629" y="512091"/>
                  </a:cubicBezTo>
                  <a:cubicBezTo>
                    <a:pt x="99392" y="403810"/>
                    <a:pt x="166145" y="338251"/>
                    <a:pt x="230201" y="251643"/>
                  </a:cubicBezTo>
                  <a:cubicBezTo>
                    <a:pt x="234497" y="245844"/>
                    <a:pt x="229701" y="244150"/>
                    <a:pt x="226031" y="237907"/>
                  </a:cubicBezTo>
                  <a:cubicBezTo>
                    <a:pt x="212385" y="214805"/>
                    <a:pt x="188283" y="147018"/>
                    <a:pt x="269655" y="95106"/>
                  </a:cubicBezTo>
                  <a:cubicBezTo>
                    <a:pt x="287354" y="80390"/>
                    <a:pt x="322967" y="108128"/>
                    <a:pt x="335577" y="79765"/>
                  </a:cubicBezTo>
                  <a:cubicBezTo>
                    <a:pt x="347374" y="56395"/>
                    <a:pt x="354768" y="29726"/>
                    <a:pt x="371896" y="20896"/>
                  </a:cubicBezTo>
                  <a:cubicBezTo>
                    <a:pt x="442149" y="-11838"/>
                    <a:pt x="513528" y="12334"/>
                    <a:pt x="527352" y="10372"/>
                  </a:cubicBezTo>
                  <a:cubicBezTo>
                    <a:pt x="535362" y="8856"/>
                    <a:pt x="546087" y="3057"/>
                    <a:pt x="546775" y="3503"/>
                  </a:cubicBezTo>
                  <a:cubicBezTo>
                    <a:pt x="547463" y="3950"/>
                    <a:pt x="545534" y="9213"/>
                    <a:pt x="545534" y="9213"/>
                  </a:cubicBezTo>
                  <a:cubicBezTo>
                    <a:pt x="537791" y="35079"/>
                    <a:pt x="532558" y="56127"/>
                    <a:pt x="529852" y="72361"/>
                  </a:cubicBezTo>
                  <a:cubicBezTo>
                    <a:pt x="528388" y="81102"/>
                    <a:pt x="520877" y="88774"/>
                    <a:pt x="520877" y="947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E5F9BA9D-C36D-DDBD-FE96-D6F966C2F4C6}"/>
                </a:ext>
              </a:extLst>
            </p:cNvPr>
            <p:cNvSpPr/>
            <p:nvPr/>
          </p:nvSpPr>
          <p:spPr>
            <a:xfrm>
              <a:off x="8816610" y="3408873"/>
              <a:ext cx="1122575" cy="1042858"/>
            </a:xfrm>
            <a:custGeom>
              <a:avLst/>
              <a:gdLst>
                <a:gd name="connsiteX0" fmla="*/ 677116 w 1122575"/>
                <a:gd name="connsiteY0" fmla="*/ 1046334 h 1042858"/>
                <a:gd name="connsiteX1" fmla="*/ 673883 w 1122575"/>
                <a:gd name="connsiteY1" fmla="*/ 1043211 h 1042858"/>
                <a:gd name="connsiteX2" fmla="*/ 661264 w 1122575"/>
                <a:gd name="connsiteY2" fmla="*/ 746728 h 1042858"/>
                <a:gd name="connsiteX3" fmla="*/ 494048 w 1122575"/>
                <a:gd name="connsiteY3" fmla="*/ 746728 h 1042858"/>
                <a:gd name="connsiteX4" fmla="*/ 433331 w 1122575"/>
                <a:gd name="connsiteY4" fmla="*/ 915129 h 1042858"/>
                <a:gd name="connsiteX5" fmla="*/ 408264 w 1122575"/>
                <a:gd name="connsiteY5" fmla="*/ 961331 h 1042858"/>
                <a:gd name="connsiteX6" fmla="*/ 399013 w 1122575"/>
                <a:gd name="connsiteY6" fmla="*/ 1004591 h 1042858"/>
                <a:gd name="connsiteX7" fmla="*/ 386716 w 1122575"/>
                <a:gd name="connsiteY7" fmla="*/ 1041070 h 1042858"/>
                <a:gd name="connsiteX8" fmla="*/ 363926 w 1122575"/>
                <a:gd name="connsiteY8" fmla="*/ 1014312 h 1042858"/>
                <a:gd name="connsiteX9" fmla="*/ 363926 w 1122575"/>
                <a:gd name="connsiteY9" fmla="*/ 1014312 h 1042858"/>
                <a:gd name="connsiteX10" fmla="*/ 389395 w 1122575"/>
                <a:gd name="connsiteY10" fmla="*/ 921193 h 1042858"/>
                <a:gd name="connsiteX11" fmla="*/ 450352 w 1122575"/>
                <a:gd name="connsiteY11" fmla="*/ 855369 h 1042858"/>
                <a:gd name="connsiteX12" fmla="*/ 492101 w 1122575"/>
                <a:gd name="connsiteY12" fmla="*/ 746284 h 1042858"/>
                <a:gd name="connsiteX13" fmla="*/ 661086 w 1122575"/>
                <a:gd name="connsiteY13" fmla="*/ 733885 h 1042858"/>
                <a:gd name="connsiteX14" fmla="*/ 662792 w 1122575"/>
                <a:gd name="connsiteY14" fmla="*/ 510097 h 1042858"/>
                <a:gd name="connsiteX15" fmla="*/ 676454 w 1122575"/>
                <a:gd name="connsiteY15" fmla="*/ 270520 h 1042858"/>
                <a:gd name="connsiteX16" fmla="*/ 679035 w 1122575"/>
                <a:gd name="connsiteY16" fmla="*/ 270609 h 1042858"/>
                <a:gd name="connsiteX17" fmla="*/ 693216 w 1122575"/>
                <a:gd name="connsiteY17" fmla="*/ 731566 h 1042858"/>
                <a:gd name="connsiteX18" fmla="*/ 784089 w 1122575"/>
                <a:gd name="connsiteY18" fmla="*/ 725769 h 1042858"/>
                <a:gd name="connsiteX19" fmla="*/ 811996 w 1122575"/>
                <a:gd name="connsiteY19" fmla="*/ 728889 h 1042858"/>
                <a:gd name="connsiteX20" fmla="*/ 796404 w 1122575"/>
                <a:gd name="connsiteY20" fmla="*/ 743161 h 1042858"/>
                <a:gd name="connsiteX21" fmla="*/ 693198 w 1122575"/>
                <a:gd name="connsiteY21" fmla="*/ 746284 h 1042858"/>
                <a:gd name="connsiteX22" fmla="*/ 688591 w 1122575"/>
                <a:gd name="connsiteY22" fmla="*/ 890600 h 1042858"/>
                <a:gd name="connsiteX23" fmla="*/ 680321 w 1122575"/>
                <a:gd name="connsiteY23" fmla="*/ 1043211 h 1042858"/>
                <a:gd name="connsiteX24" fmla="*/ 677116 w 1122575"/>
                <a:gd name="connsiteY24" fmla="*/ 1046334 h 1042858"/>
                <a:gd name="connsiteX25" fmla="*/ 264310 w 1122575"/>
                <a:gd name="connsiteY25" fmla="*/ 1040894 h 1042858"/>
                <a:gd name="connsiteX26" fmla="*/ 256684 w 1122575"/>
                <a:gd name="connsiteY26" fmla="*/ 1036611 h 1042858"/>
                <a:gd name="connsiteX27" fmla="*/ 257943 w 1122575"/>
                <a:gd name="connsiteY27" fmla="*/ 1037414 h 1042858"/>
                <a:gd name="connsiteX28" fmla="*/ 254808 w 1122575"/>
                <a:gd name="connsiteY28" fmla="*/ 1035095 h 1042858"/>
                <a:gd name="connsiteX29" fmla="*/ 249799 w 1122575"/>
                <a:gd name="connsiteY29" fmla="*/ 1009497 h 1042858"/>
                <a:gd name="connsiteX30" fmla="*/ 263266 w 1122575"/>
                <a:gd name="connsiteY30" fmla="*/ 554871 h 1042858"/>
                <a:gd name="connsiteX31" fmla="*/ 267382 w 1122575"/>
                <a:gd name="connsiteY31" fmla="*/ 555228 h 1042858"/>
                <a:gd name="connsiteX32" fmla="*/ 298986 w 1122575"/>
                <a:gd name="connsiteY32" fmla="*/ 651380 h 1042858"/>
                <a:gd name="connsiteX33" fmla="*/ 290458 w 1122575"/>
                <a:gd name="connsiteY33" fmla="*/ 891047 h 1042858"/>
                <a:gd name="connsiteX34" fmla="*/ 282314 w 1122575"/>
                <a:gd name="connsiteY34" fmla="*/ 1016366 h 1042858"/>
                <a:gd name="connsiteX35" fmla="*/ 271972 w 1122575"/>
                <a:gd name="connsiteY35" fmla="*/ 1037593 h 1042858"/>
                <a:gd name="connsiteX36" fmla="*/ 264310 w 1122575"/>
                <a:gd name="connsiteY36" fmla="*/ 1040894 h 1042858"/>
                <a:gd name="connsiteX37" fmla="*/ 22241 w 1122575"/>
                <a:gd name="connsiteY37" fmla="*/ 1038930 h 1042858"/>
                <a:gd name="connsiteX38" fmla="*/ 9033 w 1122575"/>
                <a:gd name="connsiteY38" fmla="*/ 1028763 h 1042858"/>
                <a:gd name="connsiteX39" fmla="*/ 27679 w 1122575"/>
                <a:gd name="connsiteY39" fmla="*/ 814964 h 1042858"/>
                <a:gd name="connsiteX40" fmla="*/ 27679 w 1122575"/>
                <a:gd name="connsiteY40" fmla="*/ 814964 h 1042858"/>
                <a:gd name="connsiteX41" fmla="*/ 66365 w 1122575"/>
                <a:gd name="connsiteY41" fmla="*/ 549253 h 1042858"/>
                <a:gd name="connsiteX42" fmla="*/ 234618 w 1122575"/>
                <a:gd name="connsiteY42" fmla="*/ 251788 h 1042858"/>
                <a:gd name="connsiteX43" fmla="*/ 217525 w 1122575"/>
                <a:gd name="connsiteY43" fmla="*/ 165984 h 1042858"/>
                <a:gd name="connsiteX44" fmla="*/ 303853 w 1122575"/>
                <a:gd name="connsiteY44" fmla="*/ 90793 h 1042858"/>
                <a:gd name="connsiteX45" fmla="*/ 328598 w 1122575"/>
                <a:gd name="connsiteY45" fmla="*/ 89097 h 1042858"/>
                <a:gd name="connsiteX46" fmla="*/ 361703 w 1122575"/>
                <a:gd name="connsiteY46" fmla="*/ 39239 h 1042858"/>
                <a:gd name="connsiteX47" fmla="*/ 532260 w 1122575"/>
                <a:gd name="connsiteY47" fmla="*/ 17297 h 1042858"/>
                <a:gd name="connsiteX48" fmla="*/ 531590 w 1122575"/>
                <a:gd name="connsiteY48" fmla="*/ 20150 h 1042858"/>
                <a:gd name="connsiteX49" fmla="*/ 457041 w 1122575"/>
                <a:gd name="connsiteY49" fmla="*/ 20685 h 1042858"/>
                <a:gd name="connsiteX50" fmla="*/ 373866 w 1122575"/>
                <a:gd name="connsiteY50" fmla="*/ 55381 h 1042858"/>
                <a:gd name="connsiteX51" fmla="*/ 345092 w 1122575"/>
                <a:gd name="connsiteY51" fmla="*/ 101853 h 1042858"/>
                <a:gd name="connsiteX52" fmla="*/ 301540 w 1122575"/>
                <a:gd name="connsiteY52" fmla="*/ 110773 h 1042858"/>
                <a:gd name="connsiteX53" fmla="*/ 243146 w 1122575"/>
                <a:gd name="connsiteY53" fmla="*/ 155102 h 1042858"/>
                <a:gd name="connsiteX54" fmla="*/ 239029 w 1122575"/>
                <a:gd name="connsiteY54" fmla="*/ 235467 h 1042858"/>
                <a:gd name="connsiteX55" fmla="*/ 246861 w 1122575"/>
                <a:gd name="connsiteY55" fmla="*/ 239569 h 1042858"/>
                <a:gd name="connsiteX56" fmla="*/ 397485 w 1122575"/>
                <a:gd name="connsiteY56" fmla="*/ 136728 h 1042858"/>
                <a:gd name="connsiteX57" fmla="*/ 403013 w 1122575"/>
                <a:gd name="connsiteY57" fmla="*/ 132447 h 1042858"/>
                <a:gd name="connsiteX58" fmla="*/ 426312 w 1122575"/>
                <a:gd name="connsiteY58" fmla="*/ 125400 h 1042858"/>
                <a:gd name="connsiteX59" fmla="*/ 430563 w 1122575"/>
                <a:gd name="connsiteY59" fmla="*/ 126650 h 1042858"/>
                <a:gd name="connsiteX60" fmla="*/ 563256 w 1122575"/>
                <a:gd name="connsiteY60" fmla="*/ 227527 h 1042858"/>
                <a:gd name="connsiteX61" fmla="*/ 599378 w 1122575"/>
                <a:gd name="connsiteY61" fmla="*/ 245098 h 1042858"/>
                <a:gd name="connsiteX62" fmla="*/ 620043 w 1122575"/>
                <a:gd name="connsiteY62" fmla="*/ 257855 h 1042858"/>
                <a:gd name="connsiteX63" fmla="*/ 617881 w 1122575"/>
                <a:gd name="connsiteY63" fmla="*/ 270966 h 1042858"/>
                <a:gd name="connsiteX64" fmla="*/ 587448 w 1122575"/>
                <a:gd name="connsiteY64" fmla="*/ 270520 h 1042858"/>
                <a:gd name="connsiteX65" fmla="*/ 419150 w 1122575"/>
                <a:gd name="connsiteY65" fmla="*/ 135746 h 1042858"/>
                <a:gd name="connsiteX66" fmla="*/ 415462 w 1122575"/>
                <a:gd name="connsiteY66" fmla="*/ 135391 h 1042858"/>
                <a:gd name="connsiteX67" fmla="*/ 156613 w 1122575"/>
                <a:gd name="connsiteY67" fmla="*/ 386562 h 1042858"/>
                <a:gd name="connsiteX68" fmla="*/ 82394 w 1122575"/>
                <a:gd name="connsiteY68" fmla="*/ 636485 h 1042858"/>
                <a:gd name="connsiteX69" fmla="*/ 56836 w 1122575"/>
                <a:gd name="connsiteY69" fmla="*/ 807738 h 1042858"/>
                <a:gd name="connsiteX70" fmla="*/ 35020 w 1122575"/>
                <a:gd name="connsiteY70" fmla="*/ 1015205 h 1042858"/>
                <a:gd name="connsiteX71" fmla="*/ 35020 w 1122575"/>
                <a:gd name="connsiteY71" fmla="*/ 1015205 h 1042858"/>
                <a:gd name="connsiteX72" fmla="*/ 22241 w 1122575"/>
                <a:gd name="connsiteY72" fmla="*/ 1038930 h 1042858"/>
                <a:gd name="connsiteX73" fmla="*/ 1107807 w 1122575"/>
                <a:gd name="connsiteY73" fmla="*/ 1020468 h 1042858"/>
                <a:gd name="connsiteX74" fmla="*/ 1092519 w 1122575"/>
                <a:gd name="connsiteY74" fmla="*/ 1005839 h 1042858"/>
                <a:gd name="connsiteX75" fmla="*/ 1071569 w 1122575"/>
                <a:gd name="connsiteY75" fmla="*/ 851978 h 1042858"/>
                <a:gd name="connsiteX76" fmla="*/ 879330 w 1122575"/>
                <a:gd name="connsiteY76" fmla="*/ 161613 h 1042858"/>
                <a:gd name="connsiteX77" fmla="*/ 860621 w 1122575"/>
                <a:gd name="connsiteY77" fmla="*/ 156439 h 1042858"/>
                <a:gd name="connsiteX78" fmla="*/ 858049 w 1122575"/>
                <a:gd name="connsiteY78" fmla="*/ 139315 h 1042858"/>
                <a:gd name="connsiteX79" fmla="*/ 790582 w 1122575"/>
                <a:gd name="connsiteY79" fmla="*/ 67959 h 1042858"/>
                <a:gd name="connsiteX80" fmla="*/ 789859 w 1122575"/>
                <a:gd name="connsiteY80" fmla="*/ 61448 h 1042858"/>
                <a:gd name="connsiteX81" fmla="*/ 881758 w 1122575"/>
                <a:gd name="connsiteY81" fmla="*/ 157511 h 1042858"/>
                <a:gd name="connsiteX82" fmla="*/ 1102816 w 1122575"/>
                <a:gd name="connsiteY82" fmla="*/ 853139 h 1042858"/>
                <a:gd name="connsiteX83" fmla="*/ 1102816 w 1122575"/>
                <a:gd name="connsiteY83" fmla="*/ 853139 h 1042858"/>
                <a:gd name="connsiteX84" fmla="*/ 1107807 w 1122575"/>
                <a:gd name="connsiteY84" fmla="*/ 1020468 h 1042858"/>
                <a:gd name="connsiteX85" fmla="*/ 1107807 w 1122575"/>
                <a:gd name="connsiteY85" fmla="*/ 1020468 h 1042858"/>
                <a:gd name="connsiteX86" fmla="*/ 937322 w 1122575"/>
                <a:gd name="connsiteY86" fmla="*/ 1008962 h 1042858"/>
                <a:gd name="connsiteX87" fmla="*/ 919515 w 1122575"/>
                <a:gd name="connsiteY87" fmla="*/ 961777 h 1042858"/>
                <a:gd name="connsiteX88" fmla="*/ 914434 w 1122575"/>
                <a:gd name="connsiteY88" fmla="*/ 915754 h 1042858"/>
                <a:gd name="connsiteX89" fmla="*/ 893573 w 1122575"/>
                <a:gd name="connsiteY89" fmla="*/ 855369 h 1042858"/>
                <a:gd name="connsiteX90" fmla="*/ 832464 w 1122575"/>
                <a:gd name="connsiteY90" fmla="*/ 770991 h 1042858"/>
                <a:gd name="connsiteX91" fmla="*/ 830098 w 1122575"/>
                <a:gd name="connsiteY91" fmla="*/ 747800 h 1042858"/>
                <a:gd name="connsiteX92" fmla="*/ 918845 w 1122575"/>
                <a:gd name="connsiteY92" fmla="*/ 843327 h 1042858"/>
                <a:gd name="connsiteX93" fmla="*/ 942743 w 1122575"/>
                <a:gd name="connsiteY93" fmla="*/ 912810 h 1042858"/>
                <a:gd name="connsiteX94" fmla="*/ 951682 w 1122575"/>
                <a:gd name="connsiteY94" fmla="*/ 980420 h 1042858"/>
                <a:gd name="connsiteX95" fmla="*/ 937322 w 1122575"/>
                <a:gd name="connsiteY95" fmla="*/ 1008962 h 1042858"/>
                <a:gd name="connsiteX96" fmla="*/ 937322 w 1122575"/>
                <a:gd name="connsiteY96" fmla="*/ 1008962 h 1042858"/>
                <a:gd name="connsiteX97" fmla="*/ 1021739 w 1122575"/>
                <a:gd name="connsiteY97" fmla="*/ 1004056 h 1042858"/>
                <a:gd name="connsiteX98" fmla="*/ 1003950 w 1122575"/>
                <a:gd name="connsiteY98" fmla="*/ 962224 h 1042858"/>
                <a:gd name="connsiteX99" fmla="*/ 990796 w 1122575"/>
                <a:gd name="connsiteY99" fmla="*/ 867766 h 1042858"/>
                <a:gd name="connsiteX100" fmla="*/ 950655 w 1122575"/>
                <a:gd name="connsiteY100" fmla="*/ 605535 h 1042858"/>
                <a:gd name="connsiteX101" fmla="*/ 965890 w 1122575"/>
                <a:gd name="connsiteY101" fmla="*/ 332241 h 1042858"/>
                <a:gd name="connsiteX102" fmla="*/ 967961 w 1122575"/>
                <a:gd name="connsiteY102" fmla="*/ 332152 h 1042858"/>
                <a:gd name="connsiteX103" fmla="*/ 968685 w 1122575"/>
                <a:gd name="connsiteY103" fmla="*/ 366314 h 1042858"/>
                <a:gd name="connsiteX104" fmla="*/ 1000164 w 1122575"/>
                <a:gd name="connsiteY104" fmla="*/ 768226 h 1042858"/>
                <a:gd name="connsiteX105" fmla="*/ 1021739 w 1122575"/>
                <a:gd name="connsiteY105" fmla="*/ 1004056 h 1042858"/>
                <a:gd name="connsiteX106" fmla="*/ 1021739 w 1122575"/>
                <a:gd name="connsiteY106" fmla="*/ 1004056 h 1042858"/>
                <a:gd name="connsiteX107" fmla="*/ 672588 w 1122575"/>
                <a:gd name="connsiteY107" fmla="*/ 241263 h 1042858"/>
                <a:gd name="connsiteX108" fmla="*/ 640520 w 1122575"/>
                <a:gd name="connsiteY108" fmla="*/ 227259 h 1042858"/>
                <a:gd name="connsiteX109" fmla="*/ 555987 w 1122575"/>
                <a:gd name="connsiteY109" fmla="*/ 148323 h 1042858"/>
                <a:gd name="connsiteX110" fmla="*/ 530384 w 1122575"/>
                <a:gd name="connsiteY110" fmla="*/ 96679 h 1042858"/>
                <a:gd name="connsiteX111" fmla="*/ 533108 w 1122575"/>
                <a:gd name="connsiteY111" fmla="*/ 47622 h 1042858"/>
                <a:gd name="connsiteX112" fmla="*/ 562943 w 1122575"/>
                <a:gd name="connsiteY112" fmla="*/ 45125 h 1042858"/>
                <a:gd name="connsiteX113" fmla="*/ 553968 w 1122575"/>
                <a:gd name="connsiteY113" fmla="*/ 73934 h 1042858"/>
                <a:gd name="connsiteX114" fmla="*/ 553968 w 1122575"/>
                <a:gd name="connsiteY114" fmla="*/ 73934 h 1042858"/>
                <a:gd name="connsiteX115" fmla="*/ 534215 w 1122575"/>
                <a:gd name="connsiteY115" fmla="*/ 100782 h 1042858"/>
                <a:gd name="connsiteX116" fmla="*/ 660460 w 1122575"/>
                <a:gd name="connsiteY116" fmla="*/ 214059 h 1042858"/>
                <a:gd name="connsiteX117" fmla="*/ 701861 w 1122575"/>
                <a:gd name="connsiteY117" fmla="*/ 198450 h 1042858"/>
                <a:gd name="connsiteX118" fmla="*/ 763970 w 1122575"/>
                <a:gd name="connsiteY118" fmla="*/ 124864 h 1042858"/>
                <a:gd name="connsiteX119" fmla="*/ 757567 w 1122575"/>
                <a:gd name="connsiteY119" fmla="*/ 66798 h 1042858"/>
                <a:gd name="connsiteX120" fmla="*/ 780696 w 1122575"/>
                <a:gd name="connsiteY120" fmla="*/ 91416 h 1042858"/>
                <a:gd name="connsiteX121" fmla="*/ 780696 w 1122575"/>
                <a:gd name="connsiteY121" fmla="*/ 91416 h 1042858"/>
                <a:gd name="connsiteX122" fmla="*/ 786036 w 1122575"/>
                <a:gd name="connsiteY122" fmla="*/ 105777 h 1042858"/>
                <a:gd name="connsiteX123" fmla="*/ 788162 w 1122575"/>
                <a:gd name="connsiteY123" fmla="*/ 108007 h 1042858"/>
                <a:gd name="connsiteX124" fmla="*/ 787688 w 1122575"/>
                <a:gd name="connsiteY124" fmla="*/ 132536 h 1042858"/>
                <a:gd name="connsiteX125" fmla="*/ 672588 w 1122575"/>
                <a:gd name="connsiteY125" fmla="*/ 241263 h 1042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122575" h="1042858">
                  <a:moveTo>
                    <a:pt x="677116" y="1046334"/>
                  </a:moveTo>
                  <a:cubicBezTo>
                    <a:pt x="675365" y="1046423"/>
                    <a:pt x="673918" y="1044997"/>
                    <a:pt x="673883" y="1043211"/>
                  </a:cubicBezTo>
                  <a:cubicBezTo>
                    <a:pt x="667417" y="940727"/>
                    <a:pt x="662720" y="849838"/>
                    <a:pt x="661264" y="746728"/>
                  </a:cubicBezTo>
                  <a:cubicBezTo>
                    <a:pt x="607773" y="746996"/>
                    <a:pt x="546030" y="747175"/>
                    <a:pt x="494048" y="746728"/>
                  </a:cubicBezTo>
                  <a:cubicBezTo>
                    <a:pt x="509782" y="810236"/>
                    <a:pt x="480036" y="863038"/>
                    <a:pt x="433331" y="915129"/>
                  </a:cubicBezTo>
                  <a:cubicBezTo>
                    <a:pt x="419507" y="927437"/>
                    <a:pt x="410229" y="942691"/>
                    <a:pt x="408264" y="961331"/>
                  </a:cubicBezTo>
                  <a:cubicBezTo>
                    <a:pt x="407434" y="966148"/>
                    <a:pt x="400138" y="999149"/>
                    <a:pt x="399013" y="1004591"/>
                  </a:cubicBezTo>
                  <a:cubicBezTo>
                    <a:pt x="396432" y="1016631"/>
                    <a:pt x="395762" y="1032776"/>
                    <a:pt x="386716" y="1041070"/>
                  </a:cubicBezTo>
                  <a:cubicBezTo>
                    <a:pt x="368427" y="1054896"/>
                    <a:pt x="356443" y="1030814"/>
                    <a:pt x="363926" y="1014312"/>
                  </a:cubicBezTo>
                  <a:lnTo>
                    <a:pt x="363926" y="1014312"/>
                  </a:lnTo>
                  <a:cubicBezTo>
                    <a:pt x="370624" y="991658"/>
                    <a:pt x="378268" y="941441"/>
                    <a:pt x="389395" y="921193"/>
                  </a:cubicBezTo>
                  <a:cubicBezTo>
                    <a:pt x="406809" y="897022"/>
                    <a:pt x="434117" y="881056"/>
                    <a:pt x="450352" y="855369"/>
                  </a:cubicBezTo>
                  <a:cubicBezTo>
                    <a:pt x="475607" y="823972"/>
                    <a:pt x="485876" y="784192"/>
                    <a:pt x="492101" y="746284"/>
                  </a:cubicBezTo>
                  <a:cubicBezTo>
                    <a:pt x="545583" y="740039"/>
                    <a:pt x="605005" y="739059"/>
                    <a:pt x="661086" y="733885"/>
                  </a:cubicBezTo>
                  <a:cubicBezTo>
                    <a:pt x="660193" y="668328"/>
                    <a:pt x="661827" y="583593"/>
                    <a:pt x="662792" y="510097"/>
                  </a:cubicBezTo>
                  <a:cubicBezTo>
                    <a:pt x="664685" y="432764"/>
                    <a:pt x="663283" y="342679"/>
                    <a:pt x="676454" y="270520"/>
                  </a:cubicBezTo>
                  <a:cubicBezTo>
                    <a:pt x="676713" y="269093"/>
                    <a:pt x="678874" y="269183"/>
                    <a:pt x="679035" y="270609"/>
                  </a:cubicBezTo>
                  <a:cubicBezTo>
                    <a:pt x="695860" y="419295"/>
                    <a:pt x="691805" y="590816"/>
                    <a:pt x="693216" y="731566"/>
                  </a:cubicBezTo>
                  <a:cubicBezTo>
                    <a:pt x="722498" y="729514"/>
                    <a:pt x="753664" y="727552"/>
                    <a:pt x="784089" y="725769"/>
                  </a:cubicBezTo>
                  <a:cubicBezTo>
                    <a:pt x="793332" y="726394"/>
                    <a:pt x="804468" y="720863"/>
                    <a:pt x="811996" y="728889"/>
                  </a:cubicBezTo>
                  <a:cubicBezTo>
                    <a:pt x="818971" y="739148"/>
                    <a:pt x="804530" y="744054"/>
                    <a:pt x="796404" y="743161"/>
                  </a:cubicBezTo>
                  <a:cubicBezTo>
                    <a:pt x="763309" y="744588"/>
                    <a:pt x="727214" y="745748"/>
                    <a:pt x="693198" y="746284"/>
                  </a:cubicBezTo>
                  <a:cubicBezTo>
                    <a:pt x="693038" y="794091"/>
                    <a:pt x="690770" y="842347"/>
                    <a:pt x="688591" y="890600"/>
                  </a:cubicBezTo>
                  <a:cubicBezTo>
                    <a:pt x="686028" y="947416"/>
                    <a:pt x="683643" y="995136"/>
                    <a:pt x="680321" y="1043211"/>
                  </a:cubicBezTo>
                  <a:cubicBezTo>
                    <a:pt x="680304" y="1044997"/>
                    <a:pt x="678866" y="1046423"/>
                    <a:pt x="677116" y="1046334"/>
                  </a:cubicBezTo>
                  <a:close/>
                  <a:moveTo>
                    <a:pt x="264310" y="1040894"/>
                  </a:moveTo>
                  <a:cubicBezTo>
                    <a:pt x="261176" y="1040981"/>
                    <a:pt x="258247" y="1039376"/>
                    <a:pt x="256684" y="1036611"/>
                  </a:cubicBezTo>
                  <a:cubicBezTo>
                    <a:pt x="256907" y="1036789"/>
                    <a:pt x="257711" y="1037325"/>
                    <a:pt x="257943" y="1037414"/>
                  </a:cubicBezTo>
                  <a:cubicBezTo>
                    <a:pt x="257961" y="1037414"/>
                    <a:pt x="256961" y="1036611"/>
                    <a:pt x="254808" y="1035095"/>
                  </a:cubicBezTo>
                  <a:cubicBezTo>
                    <a:pt x="247915" y="1028138"/>
                    <a:pt x="248701" y="1018417"/>
                    <a:pt x="249799" y="1009497"/>
                  </a:cubicBezTo>
                  <a:cubicBezTo>
                    <a:pt x="256336" y="859561"/>
                    <a:pt x="280867" y="704629"/>
                    <a:pt x="263266" y="554871"/>
                  </a:cubicBezTo>
                  <a:cubicBezTo>
                    <a:pt x="264310" y="553623"/>
                    <a:pt x="266570" y="553623"/>
                    <a:pt x="267382" y="555228"/>
                  </a:cubicBezTo>
                  <a:cubicBezTo>
                    <a:pt x="285796" y="583948"/>
                    <a:pt x="295450" y="617575"/>
                    <a:pt x="298986" y="651380"/>
                  </a:cubicBezTo>
                  <a:cubicBezTo>
                    <a:pt x="305576" y="731387"/>
                    <a:pt x="293941" y="811218"/>
                    <a:pt x="290458" y="891047"/>
                  </a:cubicBezTo>
                  <a:cubicBezTo>
                    <a:pt x="290458" y="891047"/>
                    <a:pt x="282314" y="1016366"/>
                    <a:pt x="282314" y="1016366"/>
                  </a:cubicBezTo>
                  <a:cubicBezTo>
                    <a:pt x="281965" y="1024392"/>
                    <a:pt x="279706" y="1033669"/>
                    <a:pt x="271972" y="1037593"/>
                  </a:cubicBezTo>
                  <a:cubicBezTo>
                    <a:pt x="269820" y="1039466"/>
                    <a:pt x="267213" y="1040981"/>
                    <a:pt x="264310" y="1040894"/>
                  </a:cubicBezTo>
                  <a:close/>
                  <a:moveTo>
                    <a:pt x="22241" y="1038930"/>
                  </a:moveTo>
                  <a:cubicBezTo>
                    <a:pt x="16168" y="1039019"/>
                    <a:pt x="10810" y="1034470"/>
                    <a:pt x="9033" y="1028763"/>
                  </a:cubicBezTo>
                  <a:cubicBezTo>
                    <a:pt x="-11140" y="956871"/>
                    <a:pt x="10703" y="885783"/>
                    <a:pt x="27679" y="814964"/>
                  </a:cubicBezTo>
                  <a:lnTo>
                    <a:pt x="27679" y="814964"/>
                  </a:lnTo>
                  <a:cubicBezTo>
                    <a:pt x="54220" y="728445"/>
                    <a:pt x="55095" y="638447"/>
                    <a:pt x="66365" y="549253"/>
                  </a:cubicBezTo>
                  <a:cubicBezTo>
                    <a:pt x="84341" y="432853"/>
                    <a:pt x="158863" y="333759"/>
                    <a:pt x="234618" y="251788"/>
                  </a:cubicBezTo>
                  <a:cubicBezTo>
                    <a:pt x="202853" y="244920"/>
                    <a:pt x="213096" y="189530"/>
                    <a:pt x="217525" y="165984"/>
                  </a:cubicBezTo>
                  <a:cubicBezTo>
                    <a:pt x="227339" y="126826"/>
                    <a:pt x="261444" y="90526"/>
                    <a:pt x="303853" y="90793"/>
                  </a:cubicBezTo>
                  <a:cubicBezTo>
                    <a:pt x="312096" y="90615"/>
                    <a:pt x="320588" y="91595"/>
                    <a:pt x="328598" y="89097"/>
                  </a:cubicBezTo>
                  <a:cubicBezTo>
                    <a:pt x="348548" y="81070"/>
                    <a:pt x="349308" y="54580"/>
                    <a:pt x="361703" y="39239"/>
                  </a:cubicBezTo>
                  <a:cubicBezTo>
                    <a:pt x="394923" y="-3932"/>
                    <a:pt x="486019" y="-3754"/>
                    <a:pt x="532260" y="17297"/>
                  </a:cubicBezTo>
                  <a:cubicBezTo>
                    <a:pt x="534153" y="18188"/>
                    <a:pt x="533653" y="20061"/>
                    <a:pt x="531590" y="20150"/>
                  </a:cubicBezTo>
                  <a:cubicBezTo>
                    <a:pt x="507532" y="20328"/>
                    <a:pt x="479911" y="17920"/>
                    <a:pt x="457041" y="20685"/>
                  </a:cubicBezTo>
                  <a:cubicBezTo>
                    <a:pt x="428036" y="25056"/>
                    <a:pt x="389842" y="26839"/>
                    <a:pt x="373866" y="55381"/>
                  </a:cubicBezTo>
                  <a:cubicBezTo>
                    <a:pt x="365301" y="71347"/>
                    <a:pt x="361247" y="91238"/>
                    <a:pt x="345092" y="101853"/>
                  </a:cubicBezTo>
                  <a:cubicBezTo>
                    <a:pt x="332322" y="110505"/>
                    <a:pt x="316301" y="109612"/>
                    <a:pt x="301540" y="110773"/>
                  </a:cubicBezTo>
                  <a:cubicBezTo>
                    <a:pt x="277188" y="112646"/>
                    <a:pt x="254818" y="129681"/>
                    <a:pt x="243146" y="155102"/>
                  </a:cubicBezTo>
                  <a:cubicBezTo>
                    <a:pt x="234618" y="176062"/>
                    <a:pt x="226607" y="213436"/>
                    <a:pt x="239029" y="235467"/>
                  </a:cubicBezTo>
                  <a:cubicBezTo>
                    <a:pt x="242262" y="234931"/>
                    <a:pt x="245557" y="236536"/>
                    <a:pt x="246861" y="239569"/>
                  </a:cubicBezTo>
                  <a:cubicBezTo>
                    <a:pt x="292003" y="196309"/>
                    <a:pt x="340270" y="162772"/>
                    <a:pt x="397485" y="136728"/>
                  </a:cubicBezTo>
                  <a:cubicBezTo>
                    <a:pt x="401299" y="135034"/>
                    <a:pt x="401852" y="134319"/>
                    <a:pt x="403013" y="132447"/>
                  </a:cubicBezTo>
                  <a:cubicBezTo>
                    <a:pt x="407478" y="125132"/>
                    <a:pt x="418337" y="123349"/>
                    <a:pt x="426312" y="125400"/>
                  </a:cubicBezTo>
                  <a:cubicBezTo>
                    <a:pt x="427625" y="125757"/>
                    <a:pt x="430429" y="126650"/>
                    <a:pt x="430563" y="126650"/>
                  </a:cubicBezTo>
                  <a:cubicBezTo>
                    <a:pt x="482769" y="150107"/>
                    <a:pt x="514738" y="197738"/>
                    <a:pt x="563256" y="227527"/>
                  </a:cubicBezTo>
                  <a:cubicBezTo>
                    <a:pt x="574651" y="234752"/>
                    <a:pt x="586394" y="241085"/>
                    <a:pt x="599378" y="245098"/>
                  </a:cubicBezTo>
                  <a:cubicBezTo>
                    <a:pt x="607567" y="247685"/>
                    <a:pt x="616846" y="250629"/>
                    <a:pt x="620043" y="257855"/>
                  </a:cubicBezTo>
                  <a:cubicBezTo>
                    <a:pt x="623624" y="261779"/>
                    <a:pt x="622213" y="268290"/>
                    <a:pt x="617881" y="270966"/>
                  </a:cubicBezTo>
                  <a:cubicBezTo>
                    <a:pt x="610139" y="278903"/>
                    <a:pt x="597057" y="274086"/>
                    <a:pt x="587448" y="270520"/>
                  </a:cubicBezTo>
                  <a:cubicBezTo>
                    <a:pt x="520230" y="245634"/>
                    <a:pt x="473821" y="180879"/>
                    <a:pt x="419150" y="135746"/>
                  </a:cubicBezTo>
                  <a:cubicBezTo>
                    <a:pt x="418114" y="134944"/>
                    <a:pt x="416641" y="134766"/>
                    <a:pt x="415462" y="135391"/>
                  </a:cubicBezTo>
                  <a:cubicBezTo>
                    <a:pt x="309273" y="193633"/>
                    <a:pt x="219481" y="282740"/>
                    <a:pt x="156613" y="386562"/>
                  </a:cubicBezTo>
                  <a:cubicBezTo>
                    <a:pt x="107345" y="456402"/>
                    <a:pt x="84029" y="545329"/>
                    <a:pt x="82394" y="636485"/>
                  </a:cubicBezTo>
                  <a:cubicBezTo>
                    <a:pt x="79420" y="695709"/>
                    <a:pt x="72089" y="747710"/>
                    <a:pt x="56836" y="807738"/>
                  </a:cubicBezTo>
                  <a:cubicBezTo>
                    <a:pt x="39798" y="874813"/>
                    <a:pt x="22785" y="945722"/>
                    <a:pt x="35020" y="1015205"/>
                  </a:cubicBezTo>
                  <a:lnTo>
                    <a:pt x="35020" y="1015205"/>
                  </a:lnTo>
                  <a:cubicBezTo>
                    <a:pt x="38101" y="1026086"/>
                    <a:pt x="35708" y="1038486"/>
                    <a:pt x="22241" y="1038930"/>
                  </a:cubicBezTo>
                  <a:close/>
                  <a:moveTo>
                    <a:pt x="1107807" y="1020468"/>
                  </a:moveTo>
                  <a:cubicBezTo>
                    <a:pt x="1100753" y="1020468"/>
                    <a:pt x="1092957" y="1015830"/>
                    <a:pt x="1092519" y="1005839"/>
                  </a:cubicBezTo>
                  <a:cubicBezTo>
                    <a:pt x="1090295" y="954195"/>
                    <a:pt x="1080901" y="902464"/>
                    <a:pt x="1071569" y="851978"/>
                  </a:cubicBezTo>
                  <a:cubicBezTo>
                    <a:pt x="1021462" y="620697"/>
                    <a:pt x="1084884" y="330726"/>
                    <a:pt x="879330" y="161613"/>
                  </a:cubicBezTo>
                  <a:cubicBezTo>
                    <a:pt x="873614" y="167232"/>
                    <a:pt x="863077" y="163754"/>
                    <a:pt x="860621" y="156439"/>
                  </a:cubicBezTo>
                  <a:cubicBezTo>
                    <a:pt x="858746" y="150910"/>
                    <a:pt x="859228" y="145022"/>
                    <a:pt x="858049" y="139315"/>
                  </a:cubicBezTo>
                  <a:cubicBezTo>
                    <a:pt x="850602" y="106135"/>
                    <a:pt x="823248" y="77236"/>
                    <a:pt x="790582" y="67959"/>
                  </a:cubicBezTo>
                  <a:cubicBezTo>
                    <a:pt x="779116" y="64479"/>
                    <a:pt x="772114" y="62517"/>
                    <a:pt x="789859" y="61448"/>
                  </a:cubicBezTo>
                  <a:cubicBezTo>
                    <a:pt x="837769" y="62964"/>
                    <a:pt x="885706" y="109166"/>
                    <a:pt x="881758" y="157511"/>
                  </a:cubicBezTo>
                  <a:cubicBezTo>
                    <a:pt x="1124891" y="295673"/>
                    <a:pt x="1042394" y="623731"/>
                    <a:pt x="1102816" y="853139"/>
                  </a:cubicBezTo>
                  <a:lnTo>
                    <a:pt x="1102816" y="853139"/>
                  </a:lnTo>
                  <a:cubicBezTo>
                    <a:pt x="1106048" y="876418"/>
                    <a:pt x="1144385" y="1024303"/>
                    <a:pt x="1107807" y="1020468"/>
                  </a:cubicBezTo>
                  <a:lnTo>
                    <a:pt x="1107807" y="1020468"/>
                  </a:lnTo>
                  <a:close/>
                  <a:moveTo>
                    <a:pt x="937322" y="1008962"/>
                  </a:moveTo>
                  <a:cubicBezTo>
                    <a:pt x="917434" y="1005660"/>
                    <a:pt x="921435" y="977386"/>
                    <a:pt x="919515" y="961777"/>
                  </a:cubicBezTo>
                  <a:cubicBezTo>
                    <a:pt x="918104" y="946436"/>
                    <a:pt x="916318" y="931006"/>
                    <a:pt x="914434" y="915754"/>
                  </a:cubicBezTo>
                  <a:cubicBezTo>
                    <a:pt x="911728" y="894614"/>
                    <a:pt x="910469" y="870621"/>
                    <a:pt x="893573" y="855369"/>
                  </a:cubicBezTo>
                  <a:cubicBezTo>
                    <a:pt x="867729" y="831820"/>
                    <a:pt x="845118" y="803903"/>
                    <a:pt x="832464" y="770991"/>
                  </a:cubicBezTo>
                  <a:cubicBezTo>
                    <a:pt x="827597" y="763052"/>
                    <a:pt x="813479" y="720684"/>
                    <a:pt x="830098" y="747800"/>
                  </a:cubicBezTo>
                  <a:cubicBezTo>
                    <a:pt x="852878" y="785797"/>
                    <a:pt x="886482" y="814160"/>
                    <a:pt x="918845" y="843327"/>
                  </a:cubicBezTo>
                  <a:cubicBezTo>
                    <a:pt x="936268" y="862326"/>
                    <a:pt x="939054" y="888192"/>
                    <a:pt x="942743" y="912810"/>
                  </a:cubicBezTo>
                  <a:cubicBezTo>
                    <a:pt x="946136" y="934840"/>
                    <a:pt x="949226" y="957407"/>
                    <a:pt x="951682" y="980420"/>
                  </a:cubicBezTo>
                  <a:cubicBezTo>
                    <a:pt x="953629" y="991569"/>
                    <a:pt x="951673" y="1008605"/>
                    <a:pt x="937322" y="1008962"/>
                  </a:cubicBezTo>
                  <a:lnTo>
                    <a:pt x="937322" y="1008962"/>
                  </a:lnTo>
                  <a:close/>
                  <a:moveTo>
                    <a:pt x="1021739" y="1004056"/>
                  </a:moveTo>
                  <a:cubicBezTo>
                    <a:pt x="1002057" y="1002183"/>
                    <a:pt x="1005397" y="977119"/>
                    <a:pt x="1003950" y="962224"/>
                  </a:cubicBezTo>
                  <a:cubicBezTo>
                    <a:pt x="1000645" y="928687"/>
                    <a:pt x="996296" y="899163"/>
                    <a:pt x="990796" y="867766"/>
                  </a:cubicBezTo>
                  <a:cubicBezTo>
                    <a:pt x="975248" y="784993"/>
                    <a:pt x="949351" y="684292"/>
                    <a:pt x="950655" y="605535"/>
                  </a:cubicBezTo>
                  <a:cubicBezTo>
                    <a:pt x="952959" y="510809"/>
                    <a:pt x="960665" y="430713"/>
                    <a:pt x="965890" y="332241"/>
                  </a:cubicBezTo>
                  <a:cubicBezTo>
                    <a:pt x="965881" y="330994"/>
                    <a:pt x="967943" y="330815"/>
                    <a:pt x="967961" y="332152"/>
                  </a:cubicBezTo>
                  <a:cubicBezTo>
                    <a:pt x="968193" y="342768"/>
                    <a:pt x="968417" y="353471"/>
                    <a:pt x="968685" y="366314"/>
                  </a:cubicBezTo>
                  <a:cubicBezTo>
                    <a:pt x="971560" y="507153"/>
                    <a:pt x="967301" y="628101"/>
                    <a:pt x="1000164" y="768226"/>
                  </a:cubicBezTo>
                  <a:cubicBezTo>
                    <a:pt x="1004012" y="797926"/>
                    <a:pt x="1064568" y="1007890"/>
                    <a:pt x="1021739" y="1004056"/>
                  </a:cubicBezTo>
                  <a:lnTo>
                    <a:pt x="1021739" y="1004056"/>
                  </a:lnTo>
                  <a:close/>
                  <a:moveTo>
                    <a:pt x="672588" y="241263"/>
                  </a:moveTo>
                  <a:cubicBezTo>
                    <a:pt x="660443" y="241263"/>
                    <a:pt x="649843" y="234395"/>
                    <a:pt x="640520" y="227259"/>
                  </a:cubicBezTo>
                  <a:cubicBezTo>
                    <a:pt x="608898" y="203356"/>
                    <a:pt x="581259" y="178381"/>
                    <a:pt x="555987" y="148323"/>
                  </a:cubicBezTo>
                  <a:cubicBezTo>
                    <a:pt x="545012" y="139136"/>
                    <a:pt x="486966" y="49138"/>
                    <a:pt x="530384" y="96679"/>
                  </a:cubicBezTo>
                  <a:cubicBezTo>
                    <a:pt x="529652" y="80445"/>
                    <a:pt x="529321" y="63410"/>
                    <a:pt x="533108" y="47622"/>
                  </a:cubicBezTo>
                  <a:cubicBezTo>
                    <a:pt x="536751" y="33708"/>
                    <a:pt x="557067" y="31924"/>
                    <a:pt x="562943" y="45125"/>
                  </a:cubicBezTo>
                  <a:cubicBezTo>
                    <a:pt x="568284" y="55294"/>
                    <a:pt x="558773" y="65461"/>
                    <a:pt x="553968" y="73934"/>
                  </a:cubicBezTo>
                  <a:lnTo>
                    <a:pt x="553968" y="73934"/>
                  </a:lnTo>
                  <a:cubicBezTo>
                    <a:pt x="548513" y="83657"/>
                    <a:pt x="540591" y="91595"/>
                    <a:pt x="534215" y="100782"/>
                  </a:cubicBezTo>
                  <a:cubicBezTo>
                    <a:pt x="572981" y="142170"/>
                    <a:pt x="614328" y="183466"/>
                    <a:pt x="660460" y="214059"/>
                  </a:cubicBezTo>
                  <a:cubicBezTo>
                    <a:pt x="675552" y="226637"/>
                    <a:pt x="691073" y="209331"/>
                    <a:pt x="701861" y="198450"/>
                  </a:cubicBezTo>
                  <a:cubicBezTo>
                    <a:pt x="725329" y="176240"/>
                    <a:pt x="746074" y="151890"/>
                    <a:pt x="763970" y="124864"/>
                  </a:cubicBezTo>
                  <a:cubicBezTo>
                    <a:pt x="753736" y="109255"/>
                    <a:pt x="759317" y="85084"/>
                    <a:pt x="757567" y="66798"/>
                  </a:cubicBezTo>
                  <a:cubicBezTo>
                    <a:pt x="757773" y="26572"/>
                    <a:pt x="776463" y="81338"/>
                    <a:pt x="780696" y="91416"/>
                  </a:cubicBezTo>
                  <a:lnTo>
                    <a:pt x="780696" y="91416"/>
                  </a:lnTo>
                  <a:cubicBezTo>
                    <a:pt x="782509" y="95965"/>
                    <a:pt x="784259" y="100871"/>
                    <a:pt x="786036" y="105777"/>
                  </a:cubicBezTo>
                  <a:cubicBezTo>
                    <a:pt x="786813" y="106492"/>
                    <a:pt x="787537" y="107204"/>
                    <a:pt x="788162" y="108007"/>
                  </a:cubicBezTo>
                  <a:cubicBezTo>
                    <a:pt x="797851" y="113536"/>
                    <a:pt x="793055" y="125668"/>
                    <a:pt x="787688" y="132536"/>
                  </a:cubicBezTo>
                  <a:cubicBezTo>
                    <a:pt x="764434" y="165805"/>
                    <a:pt x="714256" y="236714"/>
                    <a:pt x="672588" y="241263"/>
                  </a:cubicBezTo>
                  <a:close/>
                </a:path>
              </a:pathLst>
            </a:custGeom>
            <a:solidFill>
              <a:schemeClr val="bg1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FD82F061-4C05-CB97-2718-DEE70E118330}"/>
                </a:ext>
              </a:extLst>
            </p:cNvPr>
            <p:cNvSpPr/>
            <p:nvPr/>
          </p:nvSpPr>
          <p:spPr>
            <a:xfrm>
              <a:off x="9215861" y="2952724"/>
              <a:ext cx="483710" cy="567188"/>
            </a:xfrm>
            <a:custGeom>
              <a:avLst/>
              <a:gdLst>
                <a:gd name="connsiteX0" fmla="*/ 249846 w 483710"/>
                <a:gd name="connsiteY0" fmla="*/ 2095 h 567188"/>
                <a:gd name="connsiteX1" fmla="*/ 419071 w 483710"/>
                <a:gd name="connsiteY1" fmla="*/ 58467 h 567188"/>
                <a:gd name="connsiteX2" fmla="*/ 429787 w 483710"/>
                <a:gd name="connsiteY2" fmla="*/ 99586 h 567188"/>
                <a:gd name="connsiteX3" fmla="*/ 483280 w 483710"/>
                <a:gd name="connsiteY3" fmla="*/ 447533 h 567188"/>
                <a:gd name="connsiteX4" fmla="*/ 304141 w 483710"/>
                <a:gd name="connsiteY4" fmla="*/ 569284 h 567188"/>
                <a:gd name="connsiteX5" fmla="*/ 106874 w 483710"/>
                <a:gd name="connsiteY5" fmla="*/ 494003 h 567188"/>
                <a:gd name="connsiteX6" fmla="*/ 54186 w 483710"/>
                <a:gd name="connsiteY6" fmla="*/ 405077 h 567188"/>
                <a:gd name="connsiteX7" fmla="*/ 29896 w 483710"/>
                <a:gd name="connsiteY7" fmla="*/ 408377 h 567188"/>
                <a:gd name="connsiteX8" fmla="*/ 1229 w 483710"/>
                <a:gd name="connsiteY8" fmla="*/ 353879 h 567188"/>
                <a:gd name="connsiteX9" fmla="*/ 37039 w 483710"/>
                <a:gd name="connsiteY9" fmla="*/ 292781 h 567188"/>
                <a:gd name="connsiteX10" fmla="*/ 56597 w 483710"/>
                <a:gd name="connsiteY10" fmla="*/ 69705 h 567188"/>
                <a:gd name="connsiteX11" fmla="*/ 249846 w 483710"/>
                <a:gd name="connsiteY11" fmla="*/ 2095 h 56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3710" h="567188">
                  <a:moveTo>
                    <a:pt x="249846" y="2095"/>
                  </a:moveTo>
                  <a:cubicBezTo>
                    <a:pt x="311196" y="2095"/>
                    <a:pt x="387637" y="20916"/>
                    <a:pt x="419071" y="58467"/>
                  </a:cubicBezTo>
                  <a:cubicBezTo>
                    <a:pt x="426662" y="67475"/>
                    <a:pt x="428180" y="90131"/>
                    <a:pt x="429787" y="99586"/>
                  </a:cubicBezTo>
                  <a:cubicBezTo>
                    <a:pt x="439701" y="157116"/>
                    <a:pt x="495157" y="376803"/>
                    <a:pt x="483280" y="447533"/>
                  </a:cubicBezTo>
                  <a:cubicBezTo>
                    <a:pt x="471313" y="518354"/>
                    <a:pt x="407016" y="569284"/>
                    <a:pt x="304141" y="569284"/>
                  </a:cubicBezTo>
                  <a:cubicBezTo>
                    <a:pt x="201265" y="569284"/>
                    <a:pt x="124466" y="513270"/>
                    <a:pt x="106874" y="494003"/>
                  </a:cubicBezTo>
                  <a:cubicBezTo>
                    <a:pt x="89281" y="474738"/>
                    <a:pt x="54186" y="405077"/>
                    <a:pt x="54186" y="405077"/>
                  </a:cubicBezTo>
                  <a:cubicBezTo>
                    <a:pt x="54186" y="405077"/>
                    <a:pt x="40612" y="412926"/>
                    <a:pt x="29896" y="408377"/>
                  </a:cubicBezTo>
                  <a:cubicBezTo>
                    <a:pt x="14982" y="402044"/>
                    <a:pt x="1408" y="380013"/>
                    <a:pt x="1229" y="353879"/>
                  </a:cubicBezTo>
                  <a:cubicBezTo>
                    <a:pt x="962" y="309015"/>
                    <a:pt x="37039" y="292781"/>
                    <a:pt x="37039" y="292781"/>
                  </a:cubicBezTo>
                  <a:cubicBezTo>
                    <a:pt x="37039" y="292781"/>
                    <a:pt x="24181" y="115729"/>
                    <a:pt x="56597" y="69705"/>
                  </a:cubicBezTo>
                  <a:cubicBezTo>
                    <a:pt x="88924" y="23592"/>
                    <a:pt x="173850" y="2095"/>
                    <a:pt x="249846" y="2095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B75456F8-46F7-471C-FF95-52D4B32E0DFF}"/>
                </a:ext>
              </a:extLst>
            </p:cNvPr>
            <p:cNvSpPr/>
            <p:nvPr/>
          </p:nvSpPr>
          <p:spPr>
            <a:xfrm>
              <a:off x="9210799" y="2912180"/>
              <a:ext cx="501882" cy="616919"/>
            </a:xfrm>
            <a:custGeom>
              <a:avLst/>
              <a:gdLst>
                <a:gd name="connsiteX0" fmla="*/ 313578 w 501882"/>
                <a:gd name="connsiteY0" fmla="*/ 619015 h 616919"/>
                <a:gd name="connsiteX1" fmla="*/ 266516 w 501882"/>
                <a:gd name="connsiteY1" fmla="*/ 613930 h 616919"/>
                <a:gd name="connsiteX2" fmla="*/ 259194 w 501882"/>
                <a:gd name="connsiteY2" fmla="*/ 589046 h 616919"/>
                <a:gd name="connsiteX3" fmla="*/ 462087 w 501882"/>
                <a:gd name="connsiteY3" fmla="*/ 524201 h 616919"/>
                <a:gd name="connsiteX4" fmla="*/ 470035 w 501882"/>
                <a:gd name="connsiteY4" fmla="*/ 401201 h 616919"/>
                <a:gd name="connsiteX5" fmla="*/ 444226 w 501882"/>
                <a:gd name="connsiteY5" fmla="*/ 232177 h 616919"/>
                <a:gd name="connsiteX6" fmla="*/ 444226 w 501882"/>
                <a:gd name="connsiteY6" fmla="*/ 232177 h 616919"/>
                <a:gd name="connsiteX7" fmla="*/ 434046 w 501882"/>
                <a:gd name="connsiteY7" fmla="*/ 151634 h 616919"/>
                <a:gd name="connsiteX8" fmla="*/ 433421 w 501882"/>
                <a:gd name="connsiteY8" fmla="*/ 130764 h 616919"/>
                <a:gd name="connsiteX9" fmla="*/ 442262 w 501882"/>
                <a:gd name="connsiteY9" fmla="*/ 156808 h 616919"/>
                <a:gd name="connsiteX10" fmla="*/ 471820 w 501882"/>
                <a:gd name="connsiteY10" fmla="*/ 282841 h 616919"/>
                <a:gd name="connsiteX11" fmla="*/ 498968 w 501882"/>
                <a:gd name="connsiteY11" fmla="*/ 430100 h 616919"/>
                <a:gd name="connsiteX12" fmla="*/ 489235 w 501882"/>
                <a:gd name="connsiteY12" fmla="*/ 531157 h 616919"/>
                <a:gd name="connsiteX13" fmla="*/ 313578 w 501882"/>
                <a:gd name="connsiteY13" fmla="*/ 619015 h 616919"/>
                <a:gd name="connsiteX14" fmla="*/ 142655 w 501882"/>
                <a:gd name="connsiteY14" fmla="*/ 559879 h 616919"/>
                <a:gd name="connsiteX15" fmla="*/ 60409 w 501882"/>
                <a:gd name="connsiteY15" fmla="*/ 450794 h 616919"/>
                <a:gd name="connsiteX16" fmla="*/ 38529 w 501882"/>
                <a:gd name="connsiteY16" fmla="*/ 459535 h 616919"/>
                <a:gd name="connsiteX17" fmla="*/ 23438 w 501882"/>
                <a:gd name="connsiteY17" fmla="*/ 341262 h 616919"/>
                <a:gd name="connsiteX18" fmla="*/ 22366 w 501882"/>
                <a:gd name="connsiteY18" fmla="*/ 193021 h 616919"/>
                <a:gd name="connsiteX19" fmla="*/ 32726 w 501882"/>
                <a:gd name="connsiteY19" fmla="*/ 115512 h 616919"/>
                <a:gd name="connsiteX20" fmla="*/ 105863 w 501882"/>
                <a:gd name="connsiteY20" fmla="*/ 4999 h 616919"/>
                <a:gd name="connsiteX21" fmla="*/ 140154 w 501882"/>
                <a:gd name="connsiteY21" fmla="*/ 2144 h 616919"/>
                <a:gd name="connsiteX22" fmla="*/ 353229 w 501882"/>
                <a:gd name="connsiteY22" fmla="*/ 6871 h 616919"/>
                <a:gd name="connsiteX23" fmla="*/ 410560 w 501882"/>
                <a:gd name="connsiteY23" fmla="*/ 7675 h 616919"/>
                <a:gd name="connsiteX24" fmla="*/ 449495 w 501882"/>
                <a:gd name="connsiteY24" fmla="*/ 20876 h 616919"/>
                <a:gd name="connsiteX25" fmla="*/ 460033 w 501882"/>
                <a:gd name="connsiteY25" fmla="*/ 21768 h 616919"/>
                <a:gd name="connsiteX26" fmla="*/ 468160 w 501882"/>
                <a:gd name="connsiteY26" fmla="*/ 35326 h 616919"/>
                <a:gd name="connsiteX27" fmla="*/ 459319 w 501882"/>
                <a:gd name="connsiteY27" fmla="*/ 73323 h 616919"/>
                <a:gd name="connsiteX28" fmla="*/ 449852 w 501882"/>
                <a:gd name="connsiteY28" fmla="*/ 121844 h 616919"/>
                <a:gd name="connsiteX29" fmla="*/ 427348 w 501882"/>
                <a:gd name="connsiteY29" fmla="*/ 116760 h 616919"/>
                <a:gd name="connsiteX30" fmla="*/ 121312 w 501882"/>
                <a:gd name="connsiteY30" fmla="*/ 146998 h 616919"/>
                <a:gd name="connsiteX31" fmla="*/ 114525 w 501882"/>
                <a:gd name="connsiteY31" fmla="*/ 168225 h 616919"/>
                <a:gd name="connsiteX32" fmla="*/ 119079 w 501882"/>
                <a:gd name="connsiteY32" fmla="*/ 180089 h 616919"/>
                <a:gd name="connsiteX33" fmla="*/ 129170 w 501882"/>
                <a:gd name="connsiteY33" fmla="*/ 208184 h 616919"/>
                <a:gd name="connsiteX34" fmla="*/ 111310 w 501882"/>
                <a:gd name="connsiteY34" fmla="*/ 233784 h 616919"/>
                <a:gd name="connsiteX35" fmla="*/ 86574 w 501882"/>
                <a:gd name="connsiteY35" fmla="*/ 286408 h 616919"/>
                <a:gd name="connsiteX36" fmla="*/ 88271 w 501882"/>
                <a:gd name="connsiteY36" fmla="*/ 338141 h 616919"/>
                <a:gd name="connsiteX37" fmla="*/ 74162 w 501882"/>
                <a:gd name="connsiteY37" fmla="*/ 351342 h 616919"/>
                <a:gd name="connsiteX38" fmla="*/ 71661 w 501882"/>
                <a:gd name="connsiteY38" fmla="*/ 350449 h 616919"/>
                <a:gd name="connsiteX39" fmla="*/ 37905 w 501882"/>
                <a:gd name="connsiteY39" fmla="*/ 349201 h 616919"/>
                <a:gd name="connsiteX40" fmla="*/ 40227 w 501882"/>
                <a:gd name="connsiteY40" fmla="*/ 436344 h 616919"/>
                <a:gd name="connsiteX41" fmla="*/ 62105 w 501882"/>
                <a:gd name="connsiteY41" fmla="*/ 446601 h 616919"/>
                <a:gd name="connsiteX42" fmla="*/ 149978 w 501882"/>
                <a:gd name="connsiteY42" fmla="*/ 540434 h 616919"/>
                <a:gd name="connsiteX43" fmla="*/ 142655 w 501882"/>
                <a:gd name="connsiteY43" fmla="*/ 559879 h 616919"/>
                <a:gd name="connsiteX44" fmla="*/ 68713 w 501882"/>
                <a:gd name="connsiteY44" fmla="*/ 414491 h 616919"/>
                <a:gd name="connsiteX45" fmla="*/ 59158 w 501882"/>
                <a:gd name="connsiteY45" fmla="*/ 406731 h 616919"/>
                <a:gd name="connsiteX46" fmla="*/ 34690 w 501882"/>
                <a:gd name="connsiteY46" fmla="*/ 384879 h 616919"/>
                <a:gd name="connsiteX47" fmla="*/ 34154 w 501882"/>
                <a:gd name="connsiteY47" fmla="*/ 382828 h 616919"/>
                <a:gd name="connsiteX48" fmla="*/ 66035 w 501882"/>
                <a:gd name="connsiteY48" fmla="*/ 384522 h 616919"/>
                <a:gd name="connsiteX49" fmla="*/ 68713 w 501882"/>
                <a:gd name="connsiteY49" fmla="*/ 414491 h 61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01882" h="616919">
                  <a:moveTo>
                    <a:pt x="313578" y="619015"/>
                  </a:moveTo>
                  <a:cubicBezTo>
                    <a:pt x="297772" y="619015"/>
                    <a:pt x="282055" y="617230"/>
                    <a:pt x="266516" y="613930"/>
                  </a:cubicBezTo>
                  <a:cubicBezTo>
                    <a:pt x="246067" y="612236"/>
                    <a:pt x="225527" y="587886"/>
                    <a:pt x="259194" y="589046"/>
                  </a:cubicBezTo>
                  <a:cubicBezTo>
                    <a:pt x="330725" y="605278"/>
                    <a:pt x="410381" y="593237"/>
                    <a:pt x="462087" y="524201"/>
                  </a:cubicBezTo>
                  <a:cubicBezTo>
                    <a:pt x="486376" y="487274"/>
                    <a:pt x="476464" y="442856"/>
                    <a:pt x="470035" y="401201"/>
                  </a:cubicBezTo>
                  <a:cubicBezTo>
                    <a:pt x="459407" y="333681"/>
                    <a:pt x="453067" y="290153"/>
                    <a:pt x="444226" y="232177"/>
                  </a:cubicBezTo>
                  <a:lnTo>
                    <a:pt x="444226" y="232177"/>
                  </a:lnTo>
                  <a:cubicBezTo>
                    <a:pt x="440208" y="204796"/>
                    <a:pt x="435921" y="180089"/>
                    <a:pt x="434046" y="151634"/>
                  </a:cubicBezTo>
                  <a:cubicBezTo>
                    <a:pt x="433600" y="144855"/>
                    <a:pt x="431724" y="130942"/>
                    <a:pt x="433421" y="130764"/>
                  </a:cubicBezTo>
                  <a:cubicBezTo>
                    <a:pt x="435028" y="130675"/>
                    <a:pt x="439493" y="148246"/>
                    <a:pt x="442262" y="156808"/>
                  </a:cubicBezTo>
                  <a:cubicBezTo>
                    <a:pt x="455300" y="197749"/>
                    <a:pt x="461640" y="236014"/>
                    <a:pt x="471820" y="282841"/>
                  </a:cubicBezTo>
                  <a:cubicBezTo>
                    <a:pt x="481108" y="331452"/>
                    <a:pt x="490842" y="380687"/>
                    <a:pt x="498968" y="430100"/>
                  </a:cubicBezTo>
                  <a:cubicBezTo>
                    <a:pt x="504684" y="463727"/>
                    <a:pt x="506916" y="500653"/>
                    <a:pt x="489235" y="531157"/>
                  </a:cubicBezTo>
                  <a:cubicBezTo>
                    <a:pt x="453871" y="590650"/>
                    <a:pt x="380376" y="618122"/>
                    <a:pt x="313578" y="619015"/>
                  </a:cubicBezTo>
                  <a:close/>
                  <a:moveTo>
                    <a:pt x="142655" y="559879"/>
                  </a:moveTo>
                  <a:cubicBezTo>
                    <a:pt x="99880" y="546500"/>
                    <a:pt x="68267" y="493250"/>
                    <a:pt x="60409" y="450794"/>
                  </a:cubicBezTo>
                  <a:cubicBezTo>
                    <a:pt x="57015" y="459356"/>
                    <a:pt x="46745" y="461229"/>
                    <a:pt x="38529" y="459535"/>
                  </a:cubicBezTo>
                  <a:cubicBezTo>
                    <a:pt x="-6746" y="451864"/>
                    <a:pt x="-9603" y="362848"/>
                    <a:pt x="23438" y="341262"/>
                  </a:cubicBezTo>
                  <a:cubicBezTo>
                    <a:pt x="3434" y="294256"/>
                    <a:pt x="16561" y="241721"/>
                    <a:pt x="22366" y="193021"/>
                  </a:cubicBezTo>
                  <a:cubicBezTo>
                    <a:pt x="22366" y="193021"/>
                    <a:pt x="32726" y="115512"/>
                    <a:pt x="32726" y="115512"/>
                  </a:cubicBezTo>
                  <a:cubicBezTo>
                    <a:pt x="36922" y="70557"/>
                    <a:pt x="54246" y="13740"/>
                    <a:pt x="105863" y="4999"/>
                  </a:cubicBezTo>
                  <a:cubicBezTo>
                    <a:pt x="117115" y="2679"/>
                    <a:pt x="128635" y="1878"/>
                    <a:pt x="140154" y="2144"/>
                  </a:cubicBezTo>
                  <a:cubicBezTo>
                    <a:pt x="171499" y="2769"/>
                    <a:pt x="302952" y="5802"/>
                    <a:pt x="353229" y="6871"/>
                  </a:cubicBezTo>
                  <a:cubicBezTo>
                    <a:pt x="367873" y="7228"/>
                    <a:pt x="395647" y="7407"/>
                    <a:pt x="410560" y="7675"/>
                  </a:cubicBezTo>
                  <a:cubicBezTo>
                    <a:pt x="422704" y="9280"/>
                    <a:pt x="449228" y="2858"/>
                    <a:pt x="449495" y="20876"/>
                  </a:cubicBezTo>
                  <a:lnTo>
                    <a:pt x="460033" y="21768"/>
                  </a:lnTo>
                  <a:cubicBezTo>
                    <a:pt x="466731" y="21947"/>
                    <a:pt x="471196" y="29438"/>
                    <a:pt x="468160" y="35326"/>
                  </a:cubicBezTo>
                  <a:cubicBezTo>
                    <a:pt x="464587" y="42817"/>
                    <a:pt x="461729" y="59587"/>
                    <a:pt x="459319" y="73323"/>
                  </a:cubicBezTo>
                  <a:cubicBezTo>
                    <a:pt x="455210" y="90091"/>
                    <a:pt x="454854" y="108108"/>
                    <a:pt x="449852" y="121844"/>
                  </a:cubicBezTo>
                  <a:cubicBezTo>
                    <a:pt x="444226" y="131833"/>
                    <a:pt x="425831" y="129960"/>
                    <a:pt x="427348" y="116760"/>
                  </a:cubicBezTo>
                  <a:cubicBezTo>
                    <a:pt x="324562" y="113371"/>
                    <a:pt x="218830" y="115512"/>
                    <a:pt x="121312" y="146998"/>
                  </a:cubicBezTo>
                  <a:cubicBezTo>
                    <a:pt x="113543" y="151723"/>
                    <a:pt x="113722" y="160464"/>
                    <a:pt x="114525" y="168225"/>
                  </a:cubicBezTo>
                  <a:cubicBezTo>
                    <a:pt x="115151" y="175808"/>
                    <a:pt x="118008" y="174379"/>
                    <a:pt x="119079" y="180089"/>
                  </a:cubicBezTo>
                  <a:cubicBezTo>
                    <a:pt x="121580" y="189720"/>
                    <a:pt x="124705" y="199265"/>
                    <a:pt x="129170" y="208184"/>
                  </a:cubicBezTo>
                  <a:cubicBezTo>
                    <a:pt x="138369" y="221028"/>
                    <a:pt x="123813" y="233070"/>
                    <a:pt x="111310" y="233784"/>
                  </a:cubicBezTo>
                  <a:cubicBezTo>
                    <a:pt x="86128" y="235746"/>
                    <a:pt x="87913" y="267143"/>
                    <a:pt x="86574" y="286408"/>
                  </a:cubicBezTo>
                  <a:cubicBezTo>
                    <a:pt x="85413" y="303711"/>
                    <a:pt x="86752" y="321014"/>
                    <a:pt x="88271" y="338141"/>
                  </a:cubicBezTo>
                  <a:cubicBezTo>
                    <a:pt x="89432" y="348398"/>
                    <a:pt x="81573" y="358389"/>
                    <a:pt x="74162" y="351342"/>
                  </a:cubicBezTo>
                  <a:cubicBezTo>
                    <a:pt x="73178" y="350449"/>
                    <a:pt x="72643" y="351610"/>
                    <a:pt x="71661" y="350449"/>
                  </a:cubicBezTo>
                  <a:cubicBezTo>
                    <a:pt x="63087" y="340550"/>
                    <a:pt x="47906" y="341887"/>
                    <a:pt x="37905" y="349201"/>
                  </a:cubicBezTo>
                  <a:cubicBezTo>
                    <a:pt x="14955" y="363560"/>
                    <a:pt x="17812" y="425819"/>
                    <a:pt x="40227" y="436344"/>
                  </a:cubicBezTo>
                  <a:cubicBezTo>
                    <a:pt x="46567" y="438930"/>
                    <a:pt x="65053" y="435452"/>
                    <a:pt x="62105" y="446601"/>
                  </a:cubicBezTo>
                  <a:cubicBezTo>
                    <a:pt x="79788" y="479246"/>
                    <a:pt x="111489" y="524557"/>
                    <a:pt x="149978" y="540434"/>
                  </a:cubicBezTo>
                  <a:cubicBezTo>
                    <a:pt x="162391" y="544091"/>
                    <a:pt x="153550" y="561305"/>
                    <a:pt x="142655" y="559879"/>
                  </a:cubicBezTo>
                  <a:close/>
                  <a:moveTo>
                    <a:pt x="68713" y="414491"/>
                  </a:moveTo>
                  <a:cubicBezTo>
                    <a:pt x="64160" y="414670"/>
                    <a:pt x="60051" y="411191"/>
                    <a:pt x="59158" y="406731"/>
                  </a:cubicBezTo>
                  <a:cubicBezTo>
                    <a:pt x="56568" y="395939"/>
                    <a:pt x="45853" y="386305"/>
                    <a:pt x="34690" y="384879"/>
                  </a:cubicBezTo>
                  <a:cubicBezTo>
                    <a:pt x="33797" y="384790"/>
                    <a:pt x="33171" y="383274"/>
                    <a:pt x="34154" y="382828"/>
                  </a:cubicBezTo>
                  <a:cubicBezTo>
                    <a:pt x="44334" y="377832"/>
                    <a:pt x="56390" y="378457"/>
                    <a:pt x="66035" y="384522"/>
                  </a:cubicBezTo>
                  <a:cubicBezTo>
                    <a:pt x="78448" y="391569"/>
                    <a:pt x="89878" y="411993"/>
                    <a:pt x="68713" y="41449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DE19B782-23E1-FD02-E086-A6189F45E333}"/>
                </a:ext>
              </a:extLst>
            </p:cNvPr>
            <p:cNvSpPr/>
            <p:nvPr/>
          </p:nvSpPr>
          <p:spPr>
            <a:xfrm>
              <a:off x="9496529" y="3381750"/>
              <a:ext cx="95290" cy="46830"/>
            </a:xfrm>
            <a:custGeom>
              <a:avLst/>
              <a:gdLst>
                <a:gd name="connsiteX0" fmla="*/ 49861 w 95290"/>
                <a:gd name="connsiteY0" fmla="*/ 48066 h 46830"/>
                <a:gd name="connsiteX1" fmla="*/ 9881 w 95290"/>
                <a:gd name="connsiteY1" fmla="*/ 29602 h 46830"/>
                <a:gd name="connsiteX2" fmla="*/ 4559 w 95290"/>
                <a:gd name="connsiteY2" fmla="*/ 1239 h 46830"/>
                <a:gd name="connsiteX3" fmla="*/ 8104 w 95290"/>
                <a:gd name="connsiteY3" fmla="*/ 3380 h 46830"/>
                <a:gd name="connsiteX4" fmla="*/ 77080 w 95290"/>
                <a:gd name="connsiteY4" fmla="*/ 14350 h 46830"/>
                <a:gd name="connsiteX5" fmla="*/ 84171 w 95290"/>
                <a:gd name="connsiteY5" fmla="*/ 10872 h 46830"/>
                <a:gd name="connsiteX6" fmla="*/ 84234 w 95290"/>
                <a:gd name="connsiteY6" fmla="*/ 10872 h 46830"/>
                <a:gd name="connsiteX7" fmla="*/ 91771 w 95290"/>
                <a:gd name="connsiteY7" fmla="*/ 14261 h 46830"/>
                <a:gd name="connsiteX8" fmla="*/ 95289 w 95290"/>
                <a:gd name="connsiteY8" fmla="*/ 21842 h 46830"/>
                <a:gd name="connsiteX9" fmla="*/ 92369 w 95290"/>
                <a:gd name="connsiteY9" fmla="*/ 29425 h 46830"/>
                <a:gd name="connsiteX10" fmla="*/ 49861 w 95290"/>
                <a:gd name="connsiteY10" fmla="*/ 48066 h 4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290" h="46830">
                  <a:moveTo>
                    <a:pt x="49861" y="48066"/>
                  </a:moveTo>
                  <a:cubicBezTo>
                    <a:pt x="34609" y="48245"/>
                    <a:pt x="19811" y="41109"/>
                    <a:pt x="9881" y="29602"/>
                  </a:cubicBezTo>
                  <a:cubicBezTo>
                    <a:pt x="4425" y="24072"/>
                    <a:pt x="-6023" y="2844"/>
                    <a:pt x="4559" y="1239"/>
                  </a:cubicBezTo>
                  <a:cubicBezTo>
                    <a:pt x="6032" y="1239"/>
                    <a:pt x="7488" y="2041"/>
                    <a:pt x="8104" y="3380"/>
                  </a:cubicBezTo>
                  <a:cubicBezTo>
                    <a:pt x="24464" y="28978"/>
                    <a:pt x="55559" y="39325"/>
                    <a:pt x="77080" y="14350"/>
                  </a:cubicBezTo>
                  <a:cubicBezTo>
                    <a:pt x="78804" y="12210"/>
                    <a:pt x="81403" y="10961"/>
                    <a:pt x="84171" y="10872"/>
                  </a:cubicBezTo>
                  <a:lnTo>
                    <a:pt x="84234" y="10872"/>
                  </a:lnTo>
                  <a:cubicBezTo>
                    <a:pt x="87082" y="10961"/>
                    <a:pt x="89797" y="12120"/>
                    <a:pt x="91771" y="14261"/>
                  </a:cubicBezTo>
                  <a:cubicBezTo>
                    <a:pt x="93851" y="16223"/>
                    <a:pt x="95110" y="18989"/>
                    <a:pt x="95289" y="21842"/>
                  </a:cubicBezTo>
                  <a:cubicBezTo>
                    <a:pt x="95387" y="24697"/>
                    <a:pt x="94334" y="27372"/>
                    <a:pt x="92369" y="29425"/>
                  </a:cubicBezTo>
                  <a:cubicBezTo>
                    <a:pt x="81537" y="41019"/>
                    <a:pt x="65811" y="48066"/>
                    <a:pt x="49861" y="4806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B59D6902-D05E-80FF-5757-029B4B483DBC}"/>
                </a:ext>
              </a:extLst>
            </p:cNvPr>
            <p:cNvSpPr/>
            <p:nvPr/>
          </p:nvSpPr>
          <p:spPr>
            <a:xfrm>
              <a:off x="9523202" y="3290857"/>
              <a:ext cx="70846" cy="63352"/>
            </a:xfrm>
            <a:custGeom>
              <a:avLst/>
              <a:gdLst>
                <a:gd name="connsiteX0" fmla="*/ 39147 w 70846"/>
                <a:gd name="connsiteY0" fmla="*/ 64572 h 63352"/>
                <a:gd name="connsiteX1" fmla="*/ 3810 w 70846"/>
                <a:gd name="connsiteY1" fmla="*/ 36118 h 63352"/>
                <a:gd name="connsiteX2" fmla="*/ 8954 w 70846"/>
                <a:gd name="connsiteY2" fmla="*/ 34067 h 63352"/>
                <a:gd name="connsiteX3" fmla="*/ 12937 w 70846"/>
                <a:gd name="connsiteY3" fmla="*/ 35316 h 63352"/>
                <a:gd name="connsiteX4" fmla="*/ 53274 w 70846"/>
                <a:gd name="connsiteY4" fmla="*/ 44235 h 63352"/>
                <a:gd name="connsiteX5" fmla="*/ 38629 w 70846"/>
                <a:gd name="connsiteY5" fmla="*/ 8558 h 63352"/>
                <a:gd name="connsiteX6" fmla="*/ 37718 w 70846"/>
                <a:gd name="connsiteY6" fmla="*/ 4632 h 63352"/>
                <a:gd name="connsiteX7" fmla="*/ 42594 w 70846"/>
                <a:gd name="connsiteY7" fmla="*/ 1243 h 63352"/>
                <a:gd name="connsiteX8" fmla="*/ 70634 w 70846"/>
                <a:gd name="connsiteY8" fmla="*/ 34869 h 63352"/>
                <a:gd name="connsiteX9" fmla="*/ 39147 w 70846"/>
                <a:gd name="connsiteY9" fmla="*/ 64572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846" h="63352">
                  <a:moveTo>
                    <a:pt x="39147" y="64572"/>
                  </a:moveTo>
                  <a:cubicBezTo>
                    <a:pt x="27939" y="64928"/>
                    <a:pt x="-12443" y="51193"/>
                    <a:pt x="3810" y="36118"/>
                  </a:cubicBezTo>
                  <a:cubicBezTo>
                    <a:pt x="5230" y="34780"/>
                    <a:pt x="7061" y="34156"/>
                    <a:pt x="8954" y="34067"/>
                  </a:cubicBezTo>
                  <a:cubicBezTo>
                    <a:pt x="10374" y="34067"/>
                    <a:pt x="11758" y="34513"/>
                    <a:pt x="12937" y="35316"/>
                  </a:cubicBezTo>
                  <a:cubicBezTo>
                    <a:pt x="22849" y="43254"/>
                    <a:pt x="41353" y="57168"/>
                    <a:pt x="53274" y="44235"/>
                  </a:cubicBezTo>
                  <a:cubicBezTo>
                    <a:pt x="64901" y="30142"/>
                    <a:pt x="46746" y="12571"/>
                    <a:pt x="38629" y="8558"/>
                  </a:cubicBezTo>
                  <a:cubicBezTo>
                    <a:pt x="37513" y="7577"/>
                    <a:pt x="37146" y="6060"/>
                    <a:pt x="37718" y="4632"/>
                  </a:cubicBezTo>
                  <a:cubicBezTo>
                    <a:pt x="38397" y="2581"/>
                    <a:pt x="40379" y="1154"/>
                    <a:pt x="42594" y="1243"/>
                  </a:cubicBezTo>
                  <a:cubicBezTo>
                    <a:pt x="59320" y="2492"/>
                    <a:pt x="72733" y="18101"/>
                    <a:pt x="70634" y="34869"/>
                  </a:cubicBezTo>
                  <a:cubicBezTo>
                    <a:pt x="69688" y="51014"/>
                    <a:pt x="55632" y="65196"/>
                    <a:pt x="39147" y="64572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01F88240-E84D-8EEF-E0C6-C9E0CB193D7A}"/>
                </a:ext>
              </a:extLst>
            </p:cNvPr>
            <p:cNvSpPr/>
            <p:nvPr/>
          </p:nvSpPr>
          <p:spPr>
            <a:xfrm>
              <a:off x="9428118" y="3251827"/>
              <a:ext cx="69559" cy="50897"/>
            </a:xfrm>
            <a:custGeom>
              <a:avLst/>
              <a:gdLst>
                <a:gd name="connsiteX0" fmla="*/ 6003 w 69559"/>
                <a:gd name="connsiteY0" fmla="*/ 52136 h 50897"/>
                <a:gd name="connsiteX1" fmla="*/ 4145 w 69559"/>
                <a:gd name="connsiteY1" fmla="*/ 51869 h 50897"/>
                <a:gd name="connsiteX2" fmla="*/ 1600 w 69559"/>
                <a:gd name="connsiteY2" fmla="*/ 49728 h 50897"/>
                <a:gd name="connsiteX3" fmla="*/ 3163 w 69559"/>
                <a:gd name="connsiteY3" fmla="*/ 26270 h 50897"/>
                <a:gd name="connsiteX4" fmla="*/ 64745 w 69559"/>
                <a:gd name="connsiteY4" fmla="*/ 22078 h 50897"/>
                <a:gd name="connsiteX5" fmla="*/ 67710 w 69559"/>
                <a:gd name="connsiteY5" fmla="*/ 26270 h 50897"/>
                <a:gd name="connsiteX6" fmla="*/ 69148 w 69559"/>
                <a:gd name="connsiteY6" fmla="*/ 34208 h 50897"/>
                <a:gd name="connsiteX7" fmla="*/ 63307 w 69559"/>
                <a:gd name="connsiteY7" fmla="*/ 40273 h 50897"/>
                <a:gd name="connsiteX8" fmla="*/ 49635 w 69559"/>
                <a:gd name="connsiteY8" fmla="*/ 34564 h 50897"/>
                <a:gd name="connsiteX9" fmla="*/ 39080 w 69559"/>
                <a:gd name="connsiteY9" fmla="*/ 20561 h 50897"/>
                <a:gd name="connsiteX10" fmla="*/ 27765 w 69559"/>
                <a:gd name="connsiteY10" fmla="*/ 19669 h 50897"/>
                <a:gd name="connsiteX11" fmla="*/ 14602 w 69559"/>
                <a:gd name="connsiteY11" fmla="*/ 32781 h 50897"/>
                <a:gd name="connsiteX12" fmla="*/ 10280 w 69559"/>
                <a:gd name="connsiteY12" fmla="*/ 48122 h 50897"/>
                <a:gd name="connsiteX13" fmla="*/ 6708 w 69559"/>
                <a:gd name="connsiteY13" fmla="*/ 52136 h 50897"/>
                <a:gd name="connsiteX14" fmla="*/ 6003 w 69559"/>
                <a:gd name="connsiteY14" fmla="*/ 52136 h 5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559" h="50897">
                  <a:moveTo>
                    <a:pt x="6003" y="52136"/>
                  </a:moveTo>
                  <a:cubicBezTo>
                    <a:pt x="5378" y="52136"/>
                    <a:pt x="4743" y="52047"/>
                    <a:pt x="4145" y="51869"/>
                  </a:cubicBezTo>
                  <a:cubicBezTo>
                    <a:pt x="3002" y="51601"/>
                    <a:pt x="2056" y="50798"/>
                    <a:pt x="1600" y="49728"/>
                  </a:cubicBezTo>
                  <a:cubicBezTo>
                    <a:pt x="-1642" y="41076"/>
                    <a:pt x="662" y="32246"/>
                    <a:pt x="3163" y="26270"/>
                  </a:cubicBezTo>
                  <a:cubicBezTo>
                    <a:pt x="16558" y="-6554"/>
                    <a:pt x="48939" y="-6197"/>
                    <a:pt x="64745" y="22078"/>
                  </a:cubicBezTo>
                  <a:cubicBezTo>
                    <a:pt x="65710" y="23415"/>
                    <a:pt x="66701" y="24842"/>
                    <a:pt x="67710" y="26270"/>
                  </a:cubicBezTo>
                  <a:cubicBezTo>
                    <a:pt x="69487" y="28500"/>
                    <a:pt x="70032" y="31532"/>
                    <a:pt x="69148" y="34208"/>
                  </a:cubicBezTo>
                  <a:cubicBezTo>
                    <a:pt x="68148" y="36973"/>
                    <a:pt x="66022" y="39113"/>
                    <a:pt x="63307" y="40273"/>
                  </a:cubicBezTo>
                  <a:cubicBezTo>
                    <a:pt x="58110" y="42681"/>
                    <a:pt x="51511" y="40006"/>
                    <a:pt x="49635" y="34564"/>
                  </a:cubicBezTo>
                  <a:cubicBezTo>
                    <a:pt x="47019" y="28232"/>
                    <a:pt x="43179" y="23148"/>
                    <a:pt x="39080" y="20561"/>
                  </a:cubicBezTo>
                  <a:cubicBezTo>
                    <a:pt x="35740" y="18242"/>
                    <a:pt x="31418" y="17885"/>
                    <a:pt x="27765" y="19669"/>
                  </a:cubicBezTo>
                  <a:cubicBezTo>
                    <a:pt x="24327" y="21274"/>
                    <a:pt x="18541" y="26359"/>
                    <a:pt x="14602" y="32781"/>
                  </a:cubicBezTo>
                  <a:cubicBezTo>
                    <a:pt x="11575" y="37330"/>
                    <a:pt x="10066" y="42681"/>
                    <a:pt x="10280" y="48122"/>
                  </a:cubicBezTo>
                  <a:cubicBezTo>
                    <a:pt x="10530" y="50173"/>
                    <a:pt x="8708" y="51958"/>
                    <a:pt x="6708" y="52136"/>
                  </a:cubicBezTo>
                  <a:cubicBezTo>
                    <a:pt x="6485" y="52136"/>
                    <a:pt x="6244" y="52136"/>
                    <a:pt x="6003" y="5213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2210091-85F3-544B-DB05-29D4CBE0F4AC}"/>
                </a:ext>
              </a:extLst>
            </p:cNvPr>
            <p:cNvSpPr/>
            <p:nvPr/>
          </p:nvSpPr>
          <p:spPr>
            <a:xfrm>
              <a:off x="9582925" y="3250046"/>
              <a:ext cx="53600" cy="33768"/>
            </a:xfrm>
            <a:custGeom>
              <a:avLst/>
              <a:gdLst>
                <a:gd name="connsiteX0" fmla="*/ 45373 w 53600"/>
                <a:gd name="connsiteY0" fmla="*/ 35008 h 33768"/>
                <a:gd name="connsiteX1" fmla="*/ 37095 w 53600"/>
                <a:gd name="connsiteY1" fmla="*/ 28585 h 33768"/>
                <a:gd name="connsiteX2" fmla="*/ 22932 w 53600"/>
                <a:gd name="connsiteY2" fmla="*/ 17258 h 33768"/>
                <a:gd name="connsiteX3" fmla="*/ 11599 w 53600"/>
                <a:gd name="connsiteY3" fmla="*/ 25731 h 33768"/>
                <a:gd name="connsiteX4" fmla="*/ 11537 w 53600"/>
                <a:gd name="connsiteY4" fmla="*/ 25820 h 33768"/>
                <a:gd name="connsiteX5" fmla="*/ 7652 w 53600"/>
                <a:gd name="connsiteY5" fmla="*/ 30904 h 33768"/>
                <a:gd name="connsiteX6" fmla="*/ 4170 w 53600"/>
                <a:gd name="connsiteY6" fmla="*/ 31707 h 33768"/>
                <a:gd name="connsiteX7" fmla="*/ 17 w 53600"/>
                <a:gd name="connsiteY7" fmla="*/ 22699 h 33768"/>
                <a:gd name="connsiteX8" fmla="*/ 3053 w 53600"/>
                <a:gd name="connsiteY8" fmla="*/ 14314 h 33768"/>
                <a:gd name="connsiteX9" fmla="*/ 41435 w 53600"/>
                <a:gd name="connsiteY9" fmla="*/ 6198 h 33768"/>
                <a:gd name="connsiteX10" fmla="*/ 49392 w 53600"/>
                <a:gd name="connsiteY10" fmla="*/ 33937 h 33768"/>
                <a:gd name="connsiteX11" fmla="*/ 45373 w 53600"/>
                <a:gd name="connsiteY11" fmla="*/ 35008 h 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00" h="33768">
                  <a:moveTo>
                    <a:pt x="45373" y="35008"/>
                  </a:moveTo>
                  <a:cubicBezTo>
                    <a:pt x="41632" y="35008"/>
                    <a:pt x="37872" y="32331"/>
                    <a:pt x="37095" y="28585"/>
                  </a:cubicBezTo>
                  <a:cubicBezTo>
                    <a:pt x="35907" y="22163"/>
                    <a:pt x="29906" y="15920"/>
                    <a:pt x="22932" y="17258"/>
                  </a:cubicBezTo>
                  <a:cubicBezTo>
                    <a:pt x="18109" y="18239"/>
                    <a:pt x="13948" y="21450"/>
                    <a:pt x="11599" y="25731"/>
                  </a:cubicBezTo>
                  <a:lnTo>
                    <a:pt x="11537" y="25820"/>
                  </a:lnTo>
                  <a:cubicBezTo>
                    <a:pt x="10510" y="27693"/>
                    <a:pt x="9206" y="29478"/>
                    <a:pt x="7652" y="30904"/>
                  </a:cubicBezTo>
                  <a:cubicBezTo>
                    <a:pt x="6706" y="31707"/>
                    <a:pt x="5357" y="32063"/>
                    <a:pt x="4170" y="31707"/>
                  </a:cubicBezTo>
                  <a:cubicBezTo>
                    <a:pt x="347" y="27872"/>
                    <a:pt x="-81" y="25107"/>
                    <a:pt x="17" y="22699"/>
                  </a:cubicBezTo>
                  <a:cubicBezTo>
                    <a:pt x="249" y="19665"/>
                    <a:pt x="1294" y="16722"/>
                    <a:pt x="3053" y="14314"/>
                  </a:cubicBezTo>
                  <a:cubicBezTo>
                    <a:pt x="12635" y="935"/>
                    <a:pt x="28674" y="-2900"/>
                    <a:pt x="41435" y="6198"/>
                  </a:cubicBezTo>
                  <a:cubicBezTo>
                    <a:pt x="49044" y="11549"/>
                    <a:pt x="59581" y="26623"/>
                    <a:pt x="49392" y="33937"/>
                  </a:cubicBezTo>
                  <a:cubicBezTo>
                    <a:pt x="48168" y="34561"/>
                    <a:pt x="46793" y="35008"/>
                    <a:pt x="45373" y="35008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825C1965-5230-2A4E-6032-312B25ABC97B}"/>
                </a:ext>
              </a:extLst>
            </p:cNvPr>
            <p:cNvSpPr/>
            <p:nvPr/>
          </p:nvSpPr>
          <p:spPr>
            <a:xfrm>
              <a:off x="9405348" y="3182658"/>
              <a:ext cx="81617" cy="65479"/>
            </a:xfrm>
            <a:custGeom>
              <a:avLst/>
              <a:gdLst>
                <a:gd name="connsiteX0" fmla="*/ 4608 w 81617"/>
                <a:gd name="connsiteY0" fmla="*/ 66718 h 65479"/>
                <a:gd name="connsiteX1" fmla="*/ 4322 w 81617"/>
                <a:gd name="connsiteY1" fmla="*/ 66718 h 65479"/>
                <a:gd name="connsiteX2" fmla="*/ 2911 w 81617"/>
                <a:gd name="connsiteY2" fmla="*/ 66004 h 65479"/>
                <a:gd name="connsiteX3" fmla="*/ 9 w 81617"/>
                <a:gd name="connsiteY3" fmla="*/ 57620 h 65479"/>
                <a:gd name="connsiteX4" fmla="*/ 45856 w 81617"/>
                <a:gd name="connsiteY4" fmla="*/ 5263 h 65479"/>
                <a:gd name="connsiteX5" fmla="*/ 78255 w 81617"/>
                <a:gd name="connsiteY5" fmla="*/ 6244 h 65479"/>
                <a:gd name="connsiteX6" fmla="*/ 81621 w 81617"/>
                <a:gd name="connsiteY6" fmla="*/ 14539 h 65479"/>
                <a:gd name="connsiteX7" fmla="*/ 78228 w 81617"/>
                <a:gd name="connsiteY7" fmla="*/ 22923 h 65479"/>
                <a:gd name="connsiteX8" fmla="*/ 55510 w 81617"/>
                <a:gd name="connsiteY8" fmla="*/ 29702 h 65479"/>
                <a:gd name="connsiteX9" fmla="*/ 10287 w 81617"/>
                <a:gd name="connsiteY9" fmla="*/ 59493 h 65479"/>
                <a:gd name="connsiteX10" fmla="*/ 7430 w 81617"/>
                <a:gd name="connsiteY10" fmla="*/ 64667 h 65479"/>
                <a:gd name="connsiteX11" fmla="*/ 5947 w 81617"/>
                <a:gd name="connsiteY11" fmla="*/ 66450 h 65479"/>
                <a:gd name="connsiteX12" fmla="*/ 4608 w 81617"/>
                <a:gd name="connsiteY12" fmla="*/ 66718 h 65479"/>
                <a:gd name="connsiteX13" fmla="*/ 4608 w 81617"/>
                <a:gd name="connsiteY13" fmla="*/ 66718 h 65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1617" h="65479">
                  <a:moveTo>
                    <a:pt x="4608" y="66718"/>
                  </a:moveTo>
                  <a:cubicBezTo>
                    <a:pt x="4509" y="66718"/>
                    <a:pt x="4411" y="66718"/>
                    <a:pt x="4322" y="66718"/>
                  </a:cubicBezTo>
                  <a:cubicBezTo>
                    <a:pt x="3795" y="66629"/>
                    <a:pt x="3304" y="66361"/>
                    <a:pt x="2911" y="66004"/>
                  </a:cubicBezTo>
                  <a:cubicBezTo>
                    <a:pt x="911" y="64310"/>
                    <a:pt x="-63" y="61455"/>
                    <a:pt x="9" y="57620"/>
                  </a:cubicBezTo>
                  <a:cubicBezTo>
                    <a:pt x="2205" y="34251"/>
                    <a:pt x="23513" y="13380"/>
                    <a:pt x="45856" y="5263"/>
                  </a:cubicBezTo>
                  <a:cubicBezTo>
                    <a:pt x="54536" y="1784"/>
                    <a:pt x="69967" y="-2141"/>
                    <a:pt x="78255" y="6244"/>
                  </a:cubicBezTo>
                  <a:cubicBezTo>
                    <a:pt x="80460" y="8474"/>
                    <a:pt x="81675" y="11417"/>
                    <a:pt x="81621" y="14539"/>
                  </a:cubicBezTo>
                  <a:cubicBezTo>
                    <a:pt x="81666" y="17661"/>
                    <a:pt x="80442" y="20694"/>
                    <a:pt x="78228" y="22923"/>
                  </a:cubicBezTo>
                  <a:cubicBezTo>
                    <a:pt x="72254" y="28989"/>
                    <a:pt x="63198" y="27918"/>
                    <a:pt x="55510" y="29702"/>
                  </a:cubicBezTo>
                  <a:cubicBezTo>
                    <a:pt x="37194" y="33449"/>
                    <a:pt x="21396" y="44509"/>
                    <a:pt x="10287" y="59493"/>
                  </a:cubicBezTo>
                  <a:cubicBezTo>
                    <a:pt x="9278" y="61099"/>
                    <a:pt x="8457" y="63240"/>
                    <a:pt x="7430" y="64667"/>
                  </a:cubicBezTo>
                  <a:cubicBezTo>
                    <a:pt x="6662" y="65915"/>
                    <a:pt x="6260" y="66272"/>
                    <a:pt x="5947" y="66450"/>
                  </a:cubicBezTo>
                  <a:cubicBezTo>
                    <a:pt x="5536" y="66629"/>
                    <a:pt x="5072" y="66718"/>
                    <a:pt x="4608" y="66718"/>
                  </a:cubicBezTo>
                  <a:lnTo>
                    <a:pt x="4608" y="66718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1F3A2CC5-6543-9946-94F7-187167CD5A32}"/>
                </a:ext>
              </a:extLst>
            </p:cNvPr>
            <p:cNvSpPr/>
            <p:nvPr/>
          </p:nvSpPr>
          <p:spPr>
            <a:xfrm>
              <a:off x="9570311" y="3178757"/>
              <a:ext cx="74626" cy="66435"/>
            </a:xfrm>
            <a:custGeom>
              <a:avLst/>
              <a:gdLst>
                <a:gd name="connsiteX0" fmla="*/ 68936 w 74626"/>
                <a:gd name="connsiteY0" fmla="*/ 67675 h 66435"/>
                <a:gd name="connsiteX1" fmla="*/ 66444 w 74626"/>
                <a:gd name="connsiteY1" fmla="*/ 65713 h 66435"/>
                <a:gd name="connsiteX2" fmla="*/ 45494 w 74626"/>
                <a:gd name="connsiteY2" fmla="*/ 36903 h 66435"/>
                <a:gd name="connsiteX3" fmla="*/ 25973 w 74626"/>
                <a:gd name="connsiteY3" fmla="*/ 30392 h 66435"/>
                <a:gd name="connsiteX4" fmla="*/ 156 w 74626"/>
                <a:gd name="connsiteY4" fmla="*/ 11483 h 66435"/>
                <a:gd name="connsiteX5" fmla="*/ 36109 w 74626"/>
                <a:gd name="connsiteY5" fmla="*/ 7112 h 66435"/>
                <a:gd name="connsiteX6" fmla="*/ 36126 w 74626"/>
                <a:gd name="connsiteY6" fmla="*/ 7112 h 66435"/>
                <a:gd name="connsiteX7" fmla="*/ 37636 w 74626"/>
                <a:gd name="connsiteY7" fmla="*/ 7736 h 66435"/>
                <a:gd name="connsiteX8" fmla="*/ 61345 w 74626"/>
                <a:gd name="connsiteY8" fmla="*/ 23613 h 66435"/>
                <a:gd name="connsiteX9" fmla="*/ 68936 w 74626"/>
                <a:gd name="connsiteY9" fmla="*/ 67675 h 66435"/>
                <a:gd name="connsiteX10" fmla="*/ 68936 w 74626"/>
                <a:gd name="connsiteY10" fmla="*/ 67675 h 66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26" h="66435">
                  <a:moveTo>
                    <a:pt x="68936" y="67675"/>
                  </a:moveTo>
                  <a:cubicBezTo>
                    <a:pt x="67784" y="67675"/>
                    <a:pt x="66685" y="66872"/>
                    <a:pt x="66444" y="65713"/>
                  </a:cubicBezTo>
                  <a:cubicBezTo>
                    <a:pt x="63194" y="51531"/>
                    <a:pt x="56737" y="42612"/>
                    <a:pt x="45494" y="36903"/>
                  </a:cubicBezTo>
                  <a:cubicBezTo>
                    <a:pt x="39261" y="33960"/>
                    <a:pt x="32706" y="31818"/>
                    <a:pt x="25973" y="30392"/>
                  </a:cubicBezTo>
                  <a:cubicBezTo>
                    <a:pt x="15078" y="28875"/>
                    <a:pt x="-1764" y="26556"/>
                    <a:pt x="156" y="11483"/>
                  </a:cubicBezTo>
                  <a:cubicBezTo>
                    <a:pt x="4023" y="-4930"/>
                    <a:pt x="26071" y="2117"/>
                    <a:pt x="36109" y="7112"/>
                  </a:cubicBezTo>
                  <a:lnTo>
                    <a:pt x="36126" y="7112"/>
                  </a:lnTo>
                  <a:cubicBezTo>
                    <a:pt x="36636" y="7379"/>
                    <a:pt x="37145" y="7558"/>
                    <a:pt x="37636" y="7736"/>
                  </a:cubicBezTo>
                  <a:cubicBezTo>
                    <a:pt x="46566" y="11304"/>
                    <a:pt x="54648" y="16656"/>
                    <a:pt x="61345" y="23613"/>
                  </a:cubicBezTo>
                  <a:cubicBezTo>
                    <a:pt x="70892" y="32890"/>
                    <a:pt x="81402" y="58666"/>
                    <a:pt x="68936" y="67675"/>
                  </a:cubicBezTo>
                  <a:lnTo>
                    <a:pt x="68936" y="67675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0" name="Rounded Rectangle 20">
              <a:extLst>
                <a:ext uri="{FF2B5EF4-FFF2-40B4-BE49-F238E27FC236}">
                  <a16:creationId xmlns:a16="http://schemas.microsoft.com/office/drawing/2014/main" id="{C082D403-1F82-58A1-ADA9-AF216968808C}"/>
                </a:ext>
              </a:extLst>
            </p:cNvPr>
            <p:cNvSpPr/>
            <p:nvPr/>
          </p:nvSpPr>
          <p:spPr>
            <a:xfrm>
              <a:off x="3785484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88C0A524-D639-E1EC-5C0E-396001E3B30B}"/>
                </a:ext>
              </a:extLst>
            </p:cNvPr>
            <p:cNvSpPr txBox="1"/>
            <p:nvPr/>
          </p:nvSpPr>
          <p:spPr>
            <a:xfrm>
              <a:off x="4001544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T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D02479E9-A015-C176-22D3-D4F60A2F716A}"/>
                </a:ext>
              </a:extLst>
            </p:cNvPr>
            <p:cNvSpPr txBox="1"/>
            <p:nvPr/>
          </p:nvSpPr>
          <p:spPr>
            <a:xfrm>
              <a:off x="4031860" y="4671889"/>
              <a:ext cx="87395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Han Solo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667AC2EC-6AA6-4A99-B689-95EFA021B020}"/>
                </a:ext>
              </a:extLst>
            </p:cNvPr>
            <p:cNvSpPr/>
            <p:nvPr/>
          </p:nvSpPr>
          <p:spPr>
            <a:xfrm>
              <a:off x="3953388" y="3399012"/>
              <a:ext cx="945119" cy="1042829"/>
            </a:xfrm>
            <a:custGeom>
              <a:avLst/>
              <a:gdLst>
                <a:gd name="connsiteX0" fmla="*/ 163255 w 945119"/>
                <a:gd name="connsiteY0" fmla="*/ 1042896 h 1042829"/>
                <a:gd name="connsiteX1" fmla="*/ 59700 w 945119"/>
                <a:gd name="connsiteY1" fmla="*/ 1032423 h 1042829"/>
                <a:gd name="connsiteX2" fmla="*/ 32228 w 945119"/>
                <a:gd name="connsiteY2" fmla="*/ 1031634 h 1042829"/>
                <a:gd name="connsiteX3" fmla="*/ 24182 w 945119"/>
                <a:gd name="connsiteY3" fmla="*/ 1017413 h 1042829"/>
                <a:gd name="connsiteX4" fmla="*/ 30344 w 945119"/>
                <a:gd name="connsiteY4" fmla="*/ 594330 h 1042829"/>
                <a:gd name="connsiteX5" fmla="*/ 128850 w 945119"/>
                <a:gd name="connsiteY5" fmla="*/ 268618 h 1042829"/>
                <a:gd name="connsiteX6" fmla="*/ 130562 w 945119"/>
                <a:gd name="connsiteY6" fmla="*/ 135942 h 1042829"/>
                <a:gd name="connsiteX7" fmla="*/ 176520 w 945119"/>
                <a:gd name="connsiteY7" fmla="*/ 85052 h 1042829"/>
                <a:gd name="connsiteX8" fmla="*/ 348285 w 945119"/>
                <a:gd name="connsiteY8" fmla="*/ 54628 h 1042829"/>
                <a:gd name="connsiteX9" fmla="*/ 422143 w 945119"/>
                <a:gd name="connsiteY9" fmla="*/ 105295 h 1042829"/>
                <a:gd name="connsiteX10" fmla="*/ 436863 w 945119"/>
                <a:gd name="connsiteY10" fmla="*/ 73138 h 1042829"/>
                <a:gd name="connsiteX11" fmla="*/ 436863 w 945119"/>
                <a:gd name="connsiteY11" fmla="*/ 73130 h 1042829"/>
                <a:gd name="connsiteX12" fmla="*/ 469813 w 945119"/>
                <a:gd name="connsiteY12" fmla="*/ 11123 h 1042829"/>
                <a:gd name="connsiteX13" fmla="*/ 624461 w 945119"/>
                <a:gd name="connsiteY13" fmla="*/ 9425 h 1042829"/>
                <a:gd name="connsiteX14" fmla="*/ 681717 w 945119"/>
                <a:gd name="connsiteY14" fmla="*/ 82908 h 1042829"/>
                <a:gd name="connsiteX15" fmla="*/ 853224 w 945119"/>
                <a:gd name="connsiteY15" fmla="*/ 82050 h 1042829"/>
                <a:gd name="connsiteX16" fmla="*/ 877016 w 945119"/>
                <a:gd name="connsiteY16" fmla="*/ 116549 h 1042829"/>
                <a:gd name="connsiteX17" fmla="*/ 849886 w 945119"/>
                <a:gd name="connsiteY17" fmla="*/ 158973 h 1042829"/>
                <a:gd name="connsiteX18" fmla="*/ 851342 w 945119"/>
                <a:gd name="connsiteY18" fmla="*/ 170201 h 1042829"/>
                <a:gd name="connsiteX19" fmla="*/ 837649 w 945119"/>
                <a:gd name="connsiteY19" fmla="*/ 320941 h 1042829"/>
                <a:gd name="connsiteX20" fmla="*/ 901750 w 945119"/>
                <a:gd name="connsiteY20" fmla="*/ 648454 h 1042829"/>
                <a:gd name="connsiteX21" fmla="*/ 927082 w 945119"/>
                <a:gd name="connsiteY21" fmla="*/ 1012292 h 1042829"/>
                <a:gd name="connsiteX22" fmla="*/ 864692 w 945119"/>
                <a:gd name="connsiteY22" fmla="*/ 1020166 h 1042829"/>
                <a:gd name="connsiteX23" fmla="*/ 647825 w 945119"/>
                <a:gd name="connsiteY23" fmla="*/ 1032603 h 1042829"/>
                <a:gd name="connsiteX24" fmla="*/ 163255 w 945119"/>
                <a:gd name="connsiteY24" fmla="*/ 1042896 h 104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45119" h="1042829">
                  <a:moveTo>
                    <a:pt x="163255" y="1042896"/>
                  </a:moveTo>
                  <a:cubicBezTo>
                    <a:pt x="126112" y="1042794"/>
                    <a:pt x="94617" y="1040435"/>
                    <a:pt x="59700" y="1032423"/>
                  </a:cubicBezTo>
                  <a:cubicBezTo>
                    <a:pt x="53281" y="1041764"/>
                    <a:pt x="37961" y="1041515"/>
                    <a:pt x="32228" y="1031634"/>
                  </a:cubicBezTo>
                  <a:cubicBezTo>
                    <a:pt x="28633" y="1027586"/>
                    <a:pt x="23156" y="1016838"/>
                    <a:pt x="24182" y="1017413"/>
                  </a:cubicBezTo>
                  <a:cubicBezTo>
                    <a:pt x="-16384" y="881014"/>
                    <a:pt x="6210" y="737393"/>
                    <a:pt x="30344" y="594330"/>
                  </a:cubicBezTo>
                  <a:cubicBezTo>
                    <a:pt x="46862" y="482283"/>
                    <a:pt x="100694" y="375176"/>
                    <a:pt x="128850" y="268618"/>
                  </a:cubicBezTo>
                  <a:cubicBezTo>
                    <a:pt x="146994" y="221665"/>
                    <a:pt x="91109" y="174687"/>
                    <a:pt x="130562" y="135942"/>
                  </a:cubicBezTo>
                  <a:cubicBezTo>
                    <a:pt x="125598" y="109189"/>
                    <a:pt x="151444" y="86648"/>
                    <a:pt x="176520" y="85052"/>
                  </a:cubicBezTo>
                  <a:cubicBezTo>
                    <a:pt x="202110" y="11209"/>
                    <a:pt x="287093" y="24178"/>
                    <a:pt x="348285" y="54628"/>
                  </a:cubicBezTo>
                  <a:cubicBezTo>
                    <a:pt x="383203" y="71998"/>
                    <a:pt x="394928" y="105973"/>
                    <a:pt x="422143" y="105295"/>
                  </a:cubicBezTo>
                  <a:cubicBezTo>
                    <a:pt x="425824" y="99222"/>
                    <a:pt x="430958" y="87137"/>
                    <a:pt x="436863" y="73138"/>
                  </a:cubicBezTo>
                  <a:lnTo>
                    <a:pt x="436863" y="73130"/>
                  </a:lnTo>
                  <a:cubicBezTo>
                    <a:pt x="444823" y="55340"/>
                    <a:pt x="457575" y="21296"/>
                    <a:pt x="469813" y="11123"/>
                  </a:cubicBezTo>
                  <a:cubicBezTo>
                    <a:pt x="513203" y="-10586"/>
                    <a:pt x="582354" y="5728"/>
                    <a:pt x="624461" y="9425"/>
                  </a:cubicBezTo>
                  <a:cubicBezTo>
                    <a:pt x="663145" y="10103"/>
                    <a:pt x="670162" y="44310"/>
                    <a:pt x="681717" y="82908"/>
                  </a:cubicBezTo>
                  <a:cubicBezTo>
                    <a:pt x="716720" y="71380"/>
                    <a:pt x="806839" y="59809"/>
                    <a:pt x="853224" y="82050"/>
                  </a:cubicBezTo>
                  <a:cubicBezTo>
                    <a:pt x="874278" y="92163"/>
                    <a:pt x="883350" y="89281"/>
                    <a:pt x="877016" y="116549"/>
                  </a:cubicBezTo>
                  <a:cubicBezTo>
                    <a:pt x="872309" y="128454"/>
                    <a:pt x="857162" y="151845"/>
                    <a:pt x="849886" y="158973"/>
                  </a:cubicBezTo>
                  <a:cubicBezTo>
                    <a:pt x="847918" y="163030"/>
                    <a:pt x="852883" y="166169"/>
                    <a:pt x="851342" y="170201"/>
                  </a:cubicBezTo>
                  <a:cubicBezTo>
                    <a:pt x="831828" y="223192"/>
                    <a:pt x="831657" y="263935"/>
                    <a:pt x="837649" y="320941"/>
                  </a:cubicBezTo>
                  <a:cubicBezTo>
                    <a:pt x="852112" y="423038"/>
                    <a:pt x="883093" y="546219"/>
                    <a:pt x="901750" y="648454"/>
                  </a:cubicBezTo>
                  <a:cubicBezTo>
                    <a:pt x="909623" y="734657"/>
                    <a:pt x="980829" y="950432"/>
                    <a:pt x="927082" y="1012292"/>
                  </a:cubicBezTo>
                  <a:cubicBezTo>
                    <a:pt x="909794" y="1026848"/>
                    <a:pt x="885575" y="1015998"/>
                    <a:pt x="864692" y="1020166"/>
                  </a:cubicBezTo>
                  <a:cubicBezTo>
                    <a:pt x="793659" y="1029524"/>
                    <a:pt x="724678" y="1032629"/>
                    <a:pt x="647825" y="1032603"/>
                  </a:cubicBezTo>
                  <a:cubicBezTo>
                    <a:pt x="488127" y="1030399"/>
                    <a:pt x="165052" y="1042896"/>
                    <a:pt x="163255" y="10428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3E68BF1D-5499-669C-0FE1-31A39519D251}"/>
                </a:ext>
              </a:extLst>
            </p:cNvPr>
            <p:cNvSpPr/>
            <p:nvPr/>
          </p:nvSpPr>
          <p:spPr>
            <a:xfrm>
              <a:off x="4061864" y="3431262"/>
              <a:ext cx="764539" cy="940390"/>
            </a:xfrm>
            <a:custGeom>
              <a:avLst/>
              <a:gdLst>
                <a:gd name="connsiteX0" fmla="*/ 541147 w 764539"/>
                <a:gd name="connsiteY0" fmla="*/ 887199 h 940390"/>
                <a:gd name="connsiteX1" fmla="*/ 534984 w 764539"/>
                <a:gd name="connsiteY1" fmla="*/ 580401 h 940390"/>
                <a:gd name="connsiteX2" fmla="*/ 573925 w 764539"/>
                <a:gd name="connsiteY2" fmla="*/ 135283 h 940390"/>
                <a:gd name="connsiteX3" fmla="*/ 577776 w 764539"/>
                <a:gd name="connsiteY3" fmla="*/ 108307 h 940390"/>
                <a:gd name="connsiteX4" fmla="*/ 572555 w 764539"/>
                <a:gd name="connsiteY4" fmla="*/ 62486 h 940390"/>
                <a:gd name="connsiteX5" fmla="*/ 575979 w 764539"/>
                <a:gd name="connsiteY5" fmla="*/ 45640 h 940390"/>
                <a:gd name="connsiteX6" fmla="*/ 736790 w 764539"/>
                <a:gd name="connsiteY6" fmla="*/ 40614 h 940390"/>
                <a:gd name="connsiteX7" fmla="*/ 739785 w 764539"/>
                <a:gd name="connsiteY7" fmla="*/ 41789 h 940390"/>
                <a:gd name="connsiteX8" fmla="*/ 765460 w 764539"/>
                <a:gd name="connsiteY8" fmla="*/ 62983 h 940390"/>
                <a:gd name="connsiteX9" fmla="*/ 760325 w 764539"/>
                <a:gd name="connsiteY9" fmla="*/ 83887 h 940390"/>
                <a:gd name="connsiteX10" fmla="*/ 753478 w 764539"/>
                <a:gd name="connsiteY10" fmla="*/ 108170 h 940390"/>
                <a:gd name="connsiteX11" fmla="*/ 748257 w 764539"/>
                <a:gd name="connsiteY11" fmla="*/ 123909 h 940390"/>
                <a:gd name="connsiteX12" fmla="*/ 742352 w 764539"/>
                <a:gd name="connsiteY12" fmla="*/ 134811 h 940390"/>
                <a:gd name="connsiteX13" fmla="*/ 729600 w 764539"/>
                <a:gd name="connsiteY13" fmla="*/ 170742 h 940390"/>
                <a:gd name="connsiteX14" fmla="*/ 633149 w 764539"/>
                <a:gd name="connsiteY14" fmla="*/ 482858 h 940390"/>
                <a:gd name="connsiteX15" fmla="*/ 572727 w 764539"/>
                <a:gd name="connsiteY15" fmla="*/ 934950 h 940390"/>
                <a:gd name="connsiteX16" fmla="*/ 565024 w 764539"/>
                <a:gd name="connsiteY16" fmla="*/ 938621 h 940390"/>
                <a:gd name="connsiteX17" fmla="*/ 541147 w 764539"/>
                <a:gd name="connsiteY17" fmla="*/ 887199 h 940390"/>
                <a:gd name="connsiteX18" fmla="*/ 348756 w 764539"/>
                <a:gd name="connsiteY18" fmla="*/ 552696 h 940390"/>
                <a:gd name="connsiteX19" fmla="*/ 331982 w 764539"/>
                <a:gd name="connsiteY19" fmla="*/ 553579 h 940390"/>
                <a:gd name="connsiteX20" fmla="*/ 309388 w 764539"/>
                <a:gd name="connsiteY20" fmla="*/ 369593 h 940390"/>
                <a:gd name="connsiteX21" fmla="*/ 300658 w 764539"/>
                <a:gd name="connsiteY21" fmla="*/ 334614 h 940390"/>
                <a:gd name="connsiteX22" fmla="*/ 211653 w 764539"/>
                <a:gd name="connsiteY22" fmla="*/ 133293 h 940390"/>
                <a:gd name="connsiteX23" fmla="*/ 75832 w 764539"/>
                <a:gd name="connsiteY23" fmla="*/ 150808 h 940390"/>
                <a:gd name="connsiteX24" fmla="*/ 15325 w 764539"/>
                <a:gd name="connsiteY24" fmla="*/ 158219 h 940390"/>
                <a:gd name="connsiteX25" fmla="*/ 7965 w 764539"/>
                <a:gd name="connsiteY25" fmla="*/ 105365 h 940390"/>
                <a:gd name="connsiteX26" fmla="*/ 60342 w 764539"/>
                <a:gd name="connsiteY26" fmla="*/ 60590 h 940390"/>
                <a:gd name="connsiteX27" fmla="*/ 68729 w 764539"/>
                <a:gd name="connsiteY27" fmla="*/ 26006 h 940390"/>
                <a:gd name="connsiteX28" fmla="*/ 164068 w 764539"/>
                <a:gd name="connsiteY28" fmla="*/ 68 h 940390"/>
                <a:gd name="connsiteX29" fmla="*/ 243490 w 764539"/>
                <a:gd name="connsiteY29" fmla="*/ 19573 h 940390"/>
                <a:gd name="connsiteX30" fmla="*/ 271903 w 764539"/>
                <a:gd name="connsiteY30" fmla="*/ 47501 h 940390"/>
                <a:gd name="connsiteX31" fmla="*/ 443838 w 764539"/>
                <a:gd name="connsiteY31" fmla="*/ 89359 h 940390"/>
                <a:gd name="connsiteX32" fmla="*/ 449487 w 764539"/>
                <a:gd name="connsiteY32" fmla="*/ 99661 h 940390"/>
                <a:gd name="connsiteX33" fmla="*/ 348756 w 764539"/>
                <a:gd name="connsiteY33" fmla="*/ 552696 h 94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64539" h="940390">
                  <a:moveTo>
                    <a:pt x="541147" y="887199"/>
                  </a:moveTo>
                  <a:cubicBezTo>
                    <a:pt x="541317" y="879385"/>
                    <a:pt x="530877" y="675122"/>
                    <a:pt x="534984" y="580401"/>
                  </a:cubicBezTo>
                  <a:cubicBezTo>
                    <a:pt x="538322" y="430956"/>
                    <a:pt x="569132" y="297337"/>
                    <a:pt x="573925" y="135283"/>
                  </a:cubicBezTo>
                  <a:lnTo>
                    <a:pt x="577776" y="108307"/>
                  </a:lnTo>
                  <a:cubicBezTo>
                    <a:pt x="576663" y="94669"/>
                    <a:pt x="573069" y="76056"/>
                    <a:pt x="572555" y="62486"/>
                  </a:cubicBezTo>
                  <a:cubicBezTo>
                    <a:pt x="571957" y="45949"/>
                    <a:pt x="575722" y="46489"/>
                    <a:pt x="575979" y="45640"/>
                  </a:cubicBezTo>
                  <a:cubicBezTo>
                    <a:pt x="637684" y="30123"/>
                    <a:pt x="680989" y="27825"/>
                    <a:pt x="736790" y="40614"/>
                  </a:cubicBezTo>
                  <a:cubicBezTo>
                    <a:pt x="737217" y="40716"/>
                    <a:pt x="739356" y="41583"/>
                    <a:pt x="739785" y="41789"/>
                  </a:cubicBezTo>
                  <a:cubicBezTo>
                    <a:pt x="745005" y="44542"/>
                    <a:pt x="746375" y="50229"/>
                    <a:pt x="765460" y="62983"/>
                  </a:cubicBezTo>
                  <a:cubicBezTo>
                    <a:pt x="768198" y="69571"/>
                    <a:pt x="764604" y="77582"/>
                    <a:pt x="760325" y="83887"/>
                  </a:cubicBezTo>
                  <a:cubicBezTo>
                    <a:pt x="756131" y="90234"/>
                    <a:pt x="753478" y="107209"/>
                    <a:pt x="753478" y="108170"/>
                  </a:cubicBezTo>
                  <a:cubicBezTo>
                    <a:pt x="753307" y="113822"/>
                    <a:pt x="751510" y="119277"/>
                    <a:pt x="748257" y="123909"/>
                  </a:cubicBezTo>
                  <a:cubicBezTo>
                    <a:pt x="744577" y="129176"/>
                    <a:pt x="742352" y="134811"/>
                    <a:pt x="742352" y="134811"/>
                  </a:cubicBezTo>
                  <a:cubicBezTo>
                    <a:pt x="742352" y="134811"/>
                    <a:pt x="734906" y="159248"/>
                    <a:pt x="729600" y="170742"/>
                  </a:cubicBezTo>
                  <a:cubicBezTo>
                    <a:pt x="685610" y="269597"/>
                    <a:pt x="658738" y="374868"/>
                    <a:pt x="633149" y="482858"/>
                  </a:cubicBezTo>
                  <a:cubicBezTo>
                    <a:pt x="597803" y="632218"/>
                    <a:pt x="570587" y="784956"/>
                    <a:pt x="572727" y="934950"/>
                  </a:cubicBezTo>
                  <a:cubicBezTo>
                    <a:pt x="572812" y="939273"/>
                    <a:pt x="566479" y="942721"/>
                    <a:pt x="565024" y="938621"/>
                  </a:cubicBezTo>
                  <a:cubicBezTo>
                    <a:pt x="560831" y="926115"/>
                    <a:pt x="542687" y="890802"/>
                    <a:pt x="541147" y="887199"/>
                  </a:cubicBezTo>
                  <a:close/>
                  <a:moveTo>
                    <a:pt x="348756" y="552696"/>
                  </a:moveTo>
                  <a:lnTo>
                    <a:pt x="331982" y="553579"/>
                  </a:lnTo>
                  <a:cubicBezTo>
                    <a:pt x="327190" y="499027"/>
                    <a:pt x="321370" y="423322"/>
                    <a:pt x="309388" y="369593"/>
                  </a:cubicBezTo>
                  <a:cubicBezTo>
                    <a:pt x="306393" y="356006"/>
                    <a:pt x="304082" y="345748"/>
                    <a:pt x="300658" y="334614"/>
                  </a:cubicBezTo>
                  <a:cubicBezTo>
                    <a:pt x="281574" y="262838"/>
                    <a:pt x="251791" y="195822"/>
                    <a:pt x="211653" y="133293"/>
                  </a:cubicBezTo>
                  <a:cubicBezTo>
                    <a:pt x="164582" y="119586"/>
                    <a:pt x="124443" y="136406"/>
                    <a:pt x="75832" y="150808"/>
                  </a:cubicBezTo>
                  <a:cubicBezTo>
                    <a:pt x="54180" y="156143"/>
                    <a:pt x="36550" y="161324"/>
                    <a:pt x="15325" y="158219"/>
                  </a:cubicBezTo>
                  <a:cubicBezTo>
                    <a:pt x="-5985" y="151700"/>
                    <a:pt x="3258" y="123103"/>
                    <a:pt x="7965" y="105365"/>
                  </a:cubicBezTo>
                  <a:cubicBezTo>
                    <a:pt x="14384" y="80893"/>
                    <a:pt x="44681" y="59492"/>
                    <a:pt x="60342" y="60590"/>
                  </a:cubicBezTo>
                  <a:cubicBezTo>
                    <a:pt x="65477" y="60264"/>
                    <a:pt x="61967" y="35707"/>
                    <a:pt x="68729" y="26006"/>
                  </a:cubicBezTo>
                  <a:cubicBezTo>
                    <a:pt x="92948" y="8019"/>
                    <a:pt x="133943" y="840"/>
                    <a:pt x="164068" y="68"/>
                  </a:cubicBezTo>
                  <a:cubicBezTo>
                    <a:pt x="192140" y="-26"/>
                    <a:pt x="218156" y="7444"/>
                    <a:pt x="243490" y="19573"/>
                  </a:cubicBezTo>
                  <a:cubicBezTo>
                    <a:pt x="254016" y="23510"/>
                    <a:pt x="271903" y="37731"/>
                    <a:pt x="271903" y="47501"/>
                  </a:cubicBezTo>
                  <a:cubicBezTo>
                    <a:pt x="308618" y="79915"/>
                    <a:pt x="391633" y="84907"/>
                    <a:pt x="443838" y="89359"/>
                  </a:cubicBezTo>
                  <a:cubicBezTo>
                    <a:pt x="448889" y="89788"/>
                    <a:pt x="451798" y="95115"/>
                    <a:pt x="449487" y="99661"/>
                  </a:cubicBezTo>
                  <a:cubicBezTo>
                    <a:pt x="386841" y="226504"/>
                    <a:pt x="366472" y="411631"/>
                    <a:pt x="348756" y="5526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A93CDAC4-A788-B01C-2D45-FC3D52A95DE9}"/>
                </a:ext>
              </a:extLst>
            </p:cNvPr>
            <p:cNvSpPr/>
            <p:nvPr/>
          </p:nvSpPr>
          <p:spPr>
            <a:xfrm>
              <a:off x="3883272" y="3419581"/>
              <a:ext cx="1088717" cy="1035207"/>
            </a:xfrm>
            <a:custGeom>
              <a:avLst/>
              <a:gdLst>
                <a:gd name="connsiteX0" fmla="*/ 1089886 w 1088717"/>
                <a:gd name="connsiteY0" fmla="*/ 954454 h 1035207"/>
                <a:gd name="connsiteX1" fmla="*/ 1087404 w 1088717"/>
                <a:gd name="connsiteY1" fmla="*/ 948862 h 1035207"/>
                <a:gd name="connsiteX2" fmla="*/ 1033829 w 1088717"/>
                <a:gd name="connsiteY2" fmla="*/ 643710 h 1035207"/>
                <a:gd name="connsiteX3" fmla="*/ 912472 w 1088717"/>
                <a:gd name="connsiteY3" fmla="*/ 204956 h 1035207"/>
                <a:gd name="connsiteX4" fmla="*/ 928990 w 1088717"/>
                <a:gd name="connsiteY4" fmla="*/ 147093 h 1035207"/>
                <a:gd name="connsiteX5" fmla="*/ 953038 w 1088717"/>
                <a:gd name="connsiteY5" fmla="*/ 98107 h 1035207"/>
                <a:gd name="connsiteX6" fmla="*/ 840839 w 1088717"/>
                <a:gd name="connsiteY6" fmla="*/ 63926 h 1035207"/>
                <a:gd name="connsiteX7" fmla="*/ 841780 w 1088717"/>
                <a:gd name="connsiteY7" fmla="*/ 64870 h 1035207"/>
                <a:gd name="connsiteX8" fmla="*/ 937891 w 1088717"/>
                <a:gd name="connsiteY8" fmla="*/ 75334 h 1035207"/>
                <a:gd name="connsiteX9" fmla="*/ 937891 w 1088717"/>
                <a:gd name="connsiteY9" fmla="*/ 75334 h 1035207"/>
                <a:gd name="connsiteX10" fmla="*/ 940030 w 1088717"/>
                <a:gd name="connsiteY10" fmla="*/ 79957 h 1035207"/>
                <a:gd name="connsiteX11" fmla="*/ 921201 w 1088717"/>
                <a:gd name="connsiteY11" fmla="*/ 86039 h 1035207"/>
                <a:gd name="connsiteX12" fmla="*/ 927021 w 1088717"/>
                <a:gd name="connsiteY12" fmla="*/ 109464 h 1035207"/>
                <a:gd name="connsiteX13" fmla="*/ 928305 w 1088717"/>
                <a:gd name="connsiteY13" fmla="*/ 110707 h 1035207"/>
                <a:gd name="connsiteX14" fmla="*/ 927791 w 1088717"/>
                <a:gd name="connsiteY14" fmla="*/ 113212 h 1035207"/>
                <a:gd name="connsiteX15" fmla="*/ 904684 w 1088717"/>
                <a:gd name="connsiteY15" fmla="*/ 126052 h 1035207"/>
                <a:gd name="connsiteX16" fmla="*/ 779562 w 1088717"/>
                <a:gd name="connsiteY16" fmla="*/ 81501 h 1035207"/>
                <a:gd name="connsiteX17" fmla="*/ 779562 w 1088717"/>
                <a:gd name="connsiteY17" fmla="*/ 81501 h 1035207"/>
                <a:gd name="connsiteX18" fmla="*/ 754829 w 1088717"/>
                <a:gd name="connsiteY18" fmla="*/ 71586 h 1035207"/>
                <a:gd name="connsiteX19" fmla="*/ 749351 w 1088717"/>
                <a:gd name="connsiteY19" fmla="*/ 70368 h 1035207"/>
                <a:gd name="connsiteX20" fmla="*/ 749266 w 1088717"/>
                <a:gd name="connsiteY20" fmla="*/ 71148 h 1035207"/>
                <a:gd name="connsiteX21" fmla="*/ 742847 w 1088717"/>
                <a:gd name="connsiteY21" fmla="*/ 176951 h 1035207"/>
                <a:gd name="connsiteX22" fmla="*/ 735058 w 1088717"/>
                <a:gd name="connsiteY22" fmla="*/ 226966 h 1035207"/>
                <a:gd name="connsiteX23" fmla="*/ 726243 w 1088717"/>
                <a:gd name="connsiteY23" fmla="*/ 227970 h 1035207"/>
                <a:gd name="connsiteX24" fmla="*/ 593932 w 1088717"/>
                <a:gd name="connsiteY24" fmla="*/ 242243 h 1035207"/>
                <a:gd name="connsiteX25" fmla="*/ 622517 w 1088717"/>
                <a:gd name="connsiteY25" fmla="*/ 146870 h 1035207"/>
                <a:gd name="connsiteX26" fmla="*/ 642458 w 1088717"/>
                <a:gd name="connsiteY26" fmla="*/ 106041 h 1035207"/>
                <a:gd name="connsiteX27" fmla="*/ 641859 w 1088717"/>
                <a:gd name="connsiteY27" fmla="*/ 95036 h 1035207"/>
                <a:gd name="connsiteX28" fmla="*/ 614901 w 1088717"/>
                <a:gd name="connsiteY28" fmla="*/ 91588 h 1035207"/>
                <a:gd name="connsiteX29" fmla="*/ 475828 w 1088717"/>
                <a:gd name="connsiteY29" fmla="*/ 77624 h 1035207"/>
                <a:gd name="connsiteX30" fmla="*/ 475057 w 1088717"/>
                <a:gd name="connsiteY30" fmla="*/ 80601 h 1035207"/>
                <a:gd name="connsiteX31" fmla="*/ 615842 w 1088717"/>
                <a:gd name="connsiteY31" fmla="*/ 109043 h 1035207"/>
                <a:gd name="connsiteX32" fmla="*/ 568343 w 1088717"/>
                <a:gd name="connsiteY32" fmla="*/ 247252 h 1035207"/>
                <a:gd name="connsiteX33" fmla="*/ 520246 w 1088717"/>
                <a:gd name="connsiteY33" fmla="*/ 542325 h 1035207"/>
                <a:gd name="connsiteX34" fmla="*/ 519732 w 1088717"/>
                <a:gd name="connsiteY34" fmla="*/ 542333 h 1035207"/>
                <a:gd name="connsiteX35" fmla="*/ 493115 w 1088717"/>
                <a:gd name="connsiteY35" fmla="*/ 382270 h 1035207"/>
                <a:gd name="connsiteX36" fmla="*/ 483359 w 1088717"/>
                <a:gd name="connsiteY36" fmla="*/ 345266 h 1035207"/>
                <a:gd name="connsiteX37" fmla="*/ 399574 w 1088717"/>
                <a:gd name="connsiteY37" fmla="*/ 145952 h 1035207"/>
                <a:gd name="connsiteX38" fmla="*/ 396749 w 1088717"/>
                <a:gd name="connsiteY38" fmla="*/ 141449 h 1035207"/>
                <a:gd name="connsiteX39" fmla="*/ 388619 w 1088717"/>
                <a:gd name="connsiteY39" fmla="*/ 131010 h 1035207"/>
                <a:gd name="connsiteX40" fmla="*/ 387849 w 1088717"/>
                <a:gd name="connsiteY40" fmla="*/ 137409 h 1035207"/>
                <a:gd name="connsiteX41" fmla="*/ 223273 w 1088717"/>
                <a:gd name="connsiteY41" fmla="*/ 164308 h 1035207"/>
                <a:gd name="connsiteX42" fmla="*/ 189553 w 1088717"/>
                <a:gd name="connsiteY42" fmla="*/ 162627 h 1035207"/>
                <a:gd name="connsiteX43" fmla="*/ 208039 w 1088717"/>
                <a:gd name="connsiteY43" fmla="*/ 142555 h 1035207"/>
                <a:gd name="connsiteX44" fmla="*/ 202476 w 1088717"/>
                <a:gd name="connsiteY44" fmla="*/ 115605 h 1035207"/>
                <a:gd name="connsiteX45" fmla="*/ 201106 w 1088717"/>
                <a:gd name="connsiteY45" fmla="*/ 113830 h 1035207"/>
                <a:gd name="connsiteX46" fmla="*/ 212318 w 1088717"/>
                <a:gd name="connsiteY46" fmla="*/ 97361 h 1035207"/>
                <a:gd name="connsiteX47" fmla="*/ 251686 w 1088717"/>
                <a:gd name="connsiteY47" fmla="*/ 85961 h 1035207"/>
                <a:gd name="connsiteX48" fmla="*/ 265551 w 1088717"/>
                <a:gd name="connsiteY48" fmla="*/ 85104 h 1035207"/>
                <a:gd name="connsiteX49" fmla="*/ 264352 w 1088717"/>
                <a:gd name="connsiteY49" fmla="*/ 63952 h 1035207"/>
                <a:gd name="connsiteX50" fmla="*/ 254681 w 1088717"/>
                <a:gd name="connsiteY50" fmla="*/ 56060 h 1035207"/>
                <a:gd name="connsiteX51" fmla="*/ 273253 w 1088717"/>
                <a:gd name="connsiteY51" fmla="*/ 36881 h 1035207"/>
                <a:gd name="connsiteX52" fmla="*/ 424992 w 1088717"/>
                <a:gd name="connsiteY52" fmla="*/ 43846 h 1035207"/>
                <a:gd name="connsiteX53" fmla="*/ 446730 w 1088717"/>
                <a:gd name="connsiteY53" fmla="*/ 60495 h 1035207"/>
                <a:gd name="connsiteX54" fmla="*/ 450495 w 1088717"/>
                <a:gd name="connsiteY54" fmla="*/ 47569 h 1035207"/>
                <a:gd name="connsiteX55" fmla="*/ 295762 w 1088717"/>
                <a:gd name="connsiteY55" fmla="*/ 3335 h 1035207"/>
                <a:gd name="connsiteX56" fmla="*/ 228494 w 1088717"/>
                <a:gd name="connsiteY56" fmla="*/ 59817 h 1035207"/>
                <a:gd name="connsiteX57" fmla="*/ 177400 w 1088717"/>
                <a:gd name="connsiteY57" fmla="*/ 128163 h 1035207"/>
                <a:gd name="connsiteX58" fmla="*/ 186044 w 1088717"/>
                <a:gd name="connsiteY58" fmla="*/ 192656 h 1035207"/>
                <a:gd name="connsiteX59" fmla="*/ 60237 w 1088717"/>
                <a:gd name="connsiteY59" fmla="*/ 536835 h 1035207"/>
                <a:gd name="connsiteX60" fmla="*/ 33450 w 1088717"/>
                <a:gd name="connsiteY60" fmla="*/ 774242 h 1035207"/>
                <a:gd name="connsiteX61" fmla="*/ 33450 w 1088717"/>
                <a:gd name="connsiteY61" fmla="*/ 774250 h 1035207"/>
                <a:gd name="connsiteX62" fmla="*/ 14792 w 1088717"/>
                <a:gd name="connsiteY62" fmla="*/ 982520 h 1035207"/>
                <a:gd name="connsiteX63" fmla="*/ 23779 w 1088717"/>
                <a:gd name="connsiteY63" fmla="*/ 987160 h 1035207"/>
                <a:gd name="connsiteX64" fmla="*/ 121857 w 1088717"/>
                <a:gd name="connsiteY64" fmla="*/ 1034362 h 1035207"/>
                <a:gd name="connsiteX65" fmla="*/ 230205 w 1088717"/>
                <a:gd name="connsiteY65" fmla="*/ 1030116 h 1035207"/>
                <a:gd name="connsiteX66" fmla="*/ 255623 w 1088717"/>
                <a:gd name="connsiteY66" fmla="*/ 1029009 h 1035207"/>
                <a:gd name="connsiteX67" fmla="*/ 541384 w 1088717"/>
                <a:gd name="connsiteY67" fmla="*/ 1017936 h 1035207"/>
                <a:gd name="connsiteX68" fmla="*/ 543182 w 1088717"/>
                <a:gd name="connsiteY68" fmla="*/ 953571 h 1035207"/>
                <a:gd name="connsiteX69" fmla="*/ 591023 w 1088717"/>
                <a:gd name="connsiteY69" fmla="*/ 254586 h 1035207"/>
                <a:gd name="connsiteX70" fmla="*/ 731721 w 1088717"/>
                <a:gd name="connsiteY70" fmla="*/ 251352 h 1035207"/>
                <a:gd name="connsiteX71" fmla="*/ 699028 w 1088717"/>
                <a:gd name="connsiteY71" fmla="*/ 737170 h 1035207"/>
                <a:gd name="connsiteX72" fmla="*/ 705190 w 1088717"/>
                <a:gd name="connsiteY72" fmla="*/ 872291 h 1035207"/>
                <a:gd name="connsiteX73" fmla="*/ 713834 w 1088717"/>
                <a:gd name="connsiteY73" fmla="*/ 917520 h 1035207"/>
                <a:gd name="connsiteX74" fmla="*/ 719140 w 1088717"/>
                <a:gd name="connsiteY74" fmla="*/ 923258 h 1035207"/>
                <a:gd name="connsiteX75" fmla="*/ 784526 w 1088717"/>
                <a:gd name="connsiteY75" fmla="*/ 1021899 h 1035207"/>
                <a:gd name="connsiteX76" fmla="*/ 951327 w 1088717"/>
                <a:gd name="connsiteY76" fmla="*/ 1009865 h 1035207"/>
                <a:gd name="connsiteX77" fmla="*/ 1030919 w 1088717"/>
                <a:gd name="connsiteY77" fmla="*/ 1003586 h 1035207"/>
                <a:gd name="connsiteX78" fmla="*/ 1077049 w 1088717"/>
                <a:gd name="connsiteY78" fmla="*/ 996132 h 1035207"/>
                <a:gd name="connsiteX79" fmla="*/ 1089886 w 1088717"/>
                <a:gd name="connsiteY79" fmla="*/ 954454 h 1035207"/>
                <a:gd name="connsiteX80" fmla="*/ 901347 w 1088717"/>
                <a:gd name="connsiteY80" fmla="*/ 180485 h 1035207"/>
                <a:gd name="connsiteX81" fmla="*/ 897752 w 1088717"/>
                <a:gd name="connsiteY81" fmla="*/ 187664 h 1035207"/>
                <a:gd name="connsiteX82" fmla="*/ 895099 w 1088717"/>
                <a:gd name="connsiteY82" fmla="*/ 193377 h 1035207"/>
                <a:gd name="connsiteX83" fmla="*/ 875929 w 1088717"/>
                <a:gd name="connsiteY83" fmla="*/ 241076 h 1035207"/>
                <a:gd name="connsiteX84" fmla="*/ 875929 w 1088717"/>
                <a:gd name="connsiteY84" fmla="*/ 241093 h 1035207"/>
                <a:gd name="connsiteX85" fmla="*/ 745928 w 1088717"/>
                <a:gd name="connsiteY85" fmla="*/ 937231 h 1035207"/>
                <a:gd name="connsiteX86" fmla="*/ 745329 w 1088717"/>
                <a:gd name="connsiteY86" fmla="*/ 939435 h 1035207"/>
                <a:gd name="connsiteX87" fmla="*/ 740279 w 1088717"/>
                <a:gd name="connsiteY87" fmla="*/ 922666 h 1035207"/>
                <a:gd name="connsiteX88" fmla="*/ 740279 w 1088717"/>
                <a:gd name="connsiteY88" fmla="*/ 922658 h 1035207"/>
                <a:gd name="connsiteX89" fmla="*/ 731549 w 1088717"/>
                <a:gd name="connsiteY89" fmla="*/ 897586 h 1035207"/>
                <a:gd name="connsiteX90" fmla="*/ 752089 w 1088717"/>
                <a:gd name="connsiteY90" fmla="*/ 276655 h 1035207"/>
                <a:gd name="connsiteX91" fmla="*/ 761932 w 1088717"/>
                <a:gd name="connsiteY91" fmla="*/ 144048 h 1035207"/>
                <a:gd name="connsiteX92" fmla="*/ 756369 w 1088717"/>
                <a:gd name="connsiteY92" fmla="*/ 78430 h 1035207"/>
                <a:gd name="connsiteX93" fmla="*/ 758252 w 1088717"/>
                <a:gd name="connsiteY93" fmla="*/ 77255 h 1035207"/>
                <a:gd name="connsiteX94" fmla="*/ 833393 w 1088717"/>
                <a:gd name="connsiteY94" fmla="*/ 120194 h 1035207"/>
                <a:gd name="connsiteX95" fmla="*/ 893387 w 1088717"/>
                <a:gd name="connsiteY95" fmla="*/ 150121 h 1035207"/>
                <a:gd name="connsiteX96" fmla="*/ 915211 w 1088717"/>
                <a:gd name="connsiteY96" fmla="*/ 153226 h 1035207"/>
                <a:gd name="connsiteX97" fmla="*/ 915211 w 1088717"/>
                <a:gd name="connsiteY97" fmla="*/ 153629 h 1035207"/>
                <a:gd name="connsiteX98" fmla="*/ 915211 w 1088717"/>
                <a:gd name="connsiteY98" fmla="*/ 153638 h 1035207"/>
                <a:gd name="connsiteX99" fmla="*/ 903400 w 1088717"/>
                <a:gd name="connsiteY99" fmla="*/ 178023 h 1035207"/>
                <a:gd name="connsiteX100" fmla="*/ 901347 w 1088717"/>
                <a:gd name="connsiteY100" fmla="*/ 180485 h 103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088717" h="1035207">
                  <a:moveTo>
                    <a:pt x="1089886" y="954454"/>
                  </a:moveTo>
                  <a:cubicBezTo>
                    <a:pt x="1089286" y="952481"/>
                    <a:pt x="1088516" y="950594"/>
                    <a:pt x="1087404" y="948862"/>
                  </a:cubicBezTo>
                  <a:cubicBezTo>
                    <a:pt x="1101952" y="845040"/>
                    <a:pt x="1051288" y="745044"/>
                    <a:pt x="1033829" y="643710"/>
                  </a:cubicBezTo>
                  <a:cubicBezTo>
                    <a:pt x="1008752" y="494403"/>
                    <a:pt x="1020734" y="324415"/>
                    <a:pt x="912472" y="204956"/>
                  </a:cubicBezTo>
                  <a:cubicBezTo>
                    <a:pt x="918549" y="185691"/>
                    <a:pt x="925139" y="167593"/>
                    <a:pt x="928990" y="147093"/>
                  </a:cubicBezTo>
                  <a:cubicBezTo>
                    <a:pt x="948074" y="139862"/>
                    <a:pt x="962966" y="118196"/>
                    <a:pt x="953038" y="98107"/>
                  </a:cubicBezTo>
                  <a:cubicBezTo>
                    <a:pt x="995316" y="46600"/>
                    <a:pt x="865145" y="41256"/>
                    <a:pt x="840839" y="63926"/>
                  </a:cubicBezTo>
                  <a:cubicBezTo>
                    <a:pt x="839556" y="65067"/>
                    <a:pt x="841096" y="64947"/>
                    <a:pt x="841780" y="64870"/>
                  </a:cubicBezTo>
                  <a:cubicBezTo>
                    <a:pt x="873618" y="61164"/>
                    <a:pt x="908193" y="58076"/>
                    <a:pt x="937891" y="75334"/>
                  </a:cubicBezTo>
                  <a:lnTo>
                    <a:pt x="937891" y="75334"/>
                  </a:lnTo>
                  <a:cubicBezTo>
                    <a:pt x="940543" y="76475"/>
                    <a:pt x="942597" y="77710"/>
                    <a:pt x="940030" y="79957"/>
                  </a:cubicBezTo>
                  <a:cubicBezTo>
                    <a:pt x="934724" y="83834"/>
                    <a:pt x="926250" y="81141"/>
                    <a:pt x="921201" y="86039"/>
                  </a:cubicBezTo>
                  <a:cubicBezTo>
                    <a:pt x="912900" y="92618"/>
                    <a:pt x="916665" y="107517"/>
                    <a:pt x="927021" y="109464"/>
                  </a:cubicBezTo>
                  <a:cubicBezTo>
                    <a:pt x="927021" y="109472"/>
                    <a:pt x="928048" y="109670"/>
                    <a:pt x="928305" y="110707"/>
                  </a:cubicBezTo>
                  <a:cubicBezTo>
                    <a:pt x="928647" y="111900"/>
                    <a:pt x="927877" y="113152"/>
                    <a:pt x="927791" y="113212"/>
                  </a:cubicBezTo>
                  <a:cubicBezTo>
                    <a:pt x="923427" y="120692"/>
                    <a:pt x="911445" y="121069"/>
                    <a:pt x="904684" y="126052"/>
                  </a:cubicBezTo>
                  <a:cubicBezTo>
                    <a:pt x="862235" y="110416"/>
                    <a:pt x="820641" y="99437"/>
                    <a:pt x="779562" y="81501"/>
                  </a:cubicBezTo>
                  <a:lnTo>
                    <a:pt x="779562" y="81501"/>
                  </a:lnTo>
                  <a:cubicBezTo>
                    <a:pt x="771517" y="78216"/>
                    <a:pt x="763130" y="74819"/>
                    <a:pt x="754829" y="71586"/>
                  </a:cubicBezTo>
                  <a:cubicBezTo>
                    <a:pt x="752518" y="63060"/>
                    <a:pt x="750378" y="55863"/>
                    <a:pt x="749351" y="70368"/>
                  </a:cubicBezTo>
                  <a:cubicBezTo>
                    <a:pt x="749266" y="70616"/>
                    <a:pt x="749266" y="70891"/>
                    <a:pt x="749266" y="71148"/>
                  </a:cubicBezTo>
                  <a:cubicBezTo>
                    <a:pt x="747810" y="106556"/>
                    <a:pt x="745756" y="141629"/>
                    <a:pt x="742847" y="176951"/>
                  </a:cubicBezTo>
                  <a:cubicBezTo>
                    <a:pt x="740023" y="193180"/>
                    <a:pt x="737369" y="210009"/>
                    <a:pt x="735058" y="226966"/>
                  </a:cubicBezTo>
                  <a:cubicBezTo>
                    <a:pt x="732149" y="226048"/>
                    <a:pt x="728897" y="226503"/>
                    <a:pt x="726243" y="227970"/>
                  </a:cubicBezTo>
                  <a:cubicBezTo>
                    <a:pt x="685934" y="249645"/>
                    <a:pt x="637922" y="252501"/>
                    <a:pt x="593932" y="242243"/>
                  </a:cubicBezTo>
                  <a:cubicBezTo>
                    <a:pt x="602662" y="206715"/>
                    <a:pt x="609423" y="178924"/>
                    <a:pt x="622517" y="146870"/>
                  </a:cubicBezTo>
                  <a:cubicBezTo>
                    <a:pt x="628422" y="132794"/>
                    <a:pt x="635697" y="119576"/>
                    <a:pt x="642458" y="106041"/>
                  </a:cubicBezTo>
                  <a:cubicBezTo>
                    <a:pt x="644084" y="102507"/>
                    <a:pt x="643912" y="98382"/>
                    <a:pt x="641859" y="95036"/>
                  </a:cubicBezTo>
                  <a:cubicBezTo>
                    <a:pt x="635782" y="86768"/>
                    <a:pt x="623801" y="93098"/>
                    <a:pt x="614901" y="91588"/>
                  </a:cubicBezTo>
                  <a:cubicBezTo>
                    <a:pt x="569284" y="90405"/>
                    <a:pt x="518449" y="83971"/>
                    <a:pt x="475828" y="77624"/>
                  </a:cubicBezTo>
                  <a:cubicBezTo>
                    <a:pt x="474031" y="77204"/>
                    <a:pt x="473089" y="80077"/>
                    <a:pt x="475057" y="80601"/>
                  </a:cubicBezTo>
                  <a:cubicBezTo>
                    <a:pt x="521101" y="97721"/>
                    <a:pt x="567744" y="105424"/>
                    <a:pt x="615842" y="109043"/>
                  </a:cubicBezTo>
                  <a:cubicBezTo>
                    <a:pt x="590766" y="151322"/>
                    <a:pt x="580496" y="197700"/>
                    <a:pt x="568343" y="247252"/>
                  </a:cubicBezTo>
                  <a:cubicBezTo>
                    <a:pt x="545492" y="343980"/>
                    <a:pt x="529318" y="443590"/>
                    <a:pt x="520246" y="542325"/>
                  </a:cubicBezTo>
                  <a:cubicBezTo>
                    <a:pt x="520246" y="542694"/>
                    <a:pt x="519732" y="542702"/>
                    <a:pt x="519732" y="542333"/>
                  </a:cubicBezTo>
                  <a:cubicBezTo>
                    <a:pt x="514854" y="489127"/>
                    <a:pt x="505953" y="434103"/>
                    <a:pt x="493115" y="382270"/>
                  </a:cubicBezTo>
                  <a:cubicBezTo>
                    <a:pt x="489777" y="368503"/>
                    <a:pt x="487125" y="357112"/>
                    <a:pt x="483359" y="345266"/>
                  </a:cubicBezTo>
                  <a:cubicBezTo>
                    <a:pt x="464702" y="275009"/>
                    <a:pt x="438257" y="207641"/>
                    <a:pt x="399574" y="145952"/>
                  </a:cubicBezTo>
                  <a:cubicBezTo>
                    <a:pt x="398974" y="144254"/>
                    <a:pt x="398033" y="142710"/>
                    <a:pt x="396749" y="141449"/>
                  </a:cubicBezTo>
                  <a:cubicBezTo>
                    <a:pt x="393925" y="138207"/>
                    <a:pt x="392641" y="132417"/>
                    <a:pt x="388619" y="131010"/>
                  </a:cubicBezTo>
                  <a:cubicBezTo>
                    <a:pt x="384597" y="131216"/>
                    <a:pt x="386908" y="135170"/>
                    <a:pt x="387849" y="137409"/>
                  </a:cubicBezTo>
                  <a:cubicBezTo>
                    <a:pt x="331449" y="123248"/>
                    <a:pt x="277618" y="153852"/>
                    <a:pt x="223273" y="164308"/>
                  </a:cubicBezTo>
                  <a:cubicBezTo>
                    <a:pt x="213088" y="165715"/>
                    <a:pt x="197427" y="170518"/>
                    <a:pt x="189553" y="162627"/>
                  </a:cubicBezTo>
                  <a:cubicBezTo>
                    <a:pt x="187071" y="152651"/>
                    <a:pt x="200165" y="145721"/>
                    <a:pt x="208039" y="142555"/>
                  </a:cubicBezTo>
                  <a:cubicBezTo>
                    <a:pt x="230719" y="139305"/>
                    <a:pt x="223700" y="106727"/>
                    <a:pt x="202476" y="115605"/>
                  </a:cubicBezTo>
                  <a:cubicBezTo>
                    <a:pt x="202048" y="114696"/>
                    <a:pt x="201620" y="113684"/>
                    <a:pt x="201106" y="113830"/>
                  </a:cubicBezTo>
                  <a:cubicBezTo>
                    <a:pt x="200765" y="107414"/>
                    <a:pt x="207012" y="101530"/>
                    <a:pt x="212318" y="97361"/>
                  </a:cubicBezTo>
                  <a:cubicBezTo>
                    <a:pt x="223273" y="88818"/>
                    <a:pt x="237736" y="82891"/>
                    <a:pt x="251686" y="85961"/>
                  </a:cubicBezTo>
                  <a:cubicBezTo>
                    <a:pt x="256308" y="87488"/>
                    <a:pt x="261700" y="88826"/>
                    <a:pt x="265551" y="85104"/>
                  </a:cubicBezTo>
                  <a:cubicBezTo>
                    <a:pt x="271798" y="79708"/>
                    <a:pt x="271456" y="68472"/>
                    <a:pt x="264352" y="63952"/>
                  </a:cubicBezTo>
                  <a:cubicBezTo>
                    <a:pt x="261015" y="61713"/>
                    <a:pt x="257421" y="59165"/>
                    <a:pt x="254681" y="56060"/>
                  </a:cubicBezTo>
                  <a:cubicBezTo>
                    <a:pt x="244925" y="44627"/>
                    <a:pt x="264952" y="40329"/>
                    <a:pt x="273253" y="36881"/>
                  </a:cubicBezTo>
                  <a:cubicBezTo>
                    <a:pt x="321864" y="16939"/>
                    <a:pt x="378092" y="20833"/>
                    <a:pt x="424992" y="43846"/>
                  </a:cubicBezTo>
                  <a:cubicBezTo>
                    <a:pt x="433807" y="47320"/>
                    <a:pt x="445789" y="52072"/>
                    <a:pt x="446730" y="60495"/>
                  </a:cubicBezTo>
                  <a:cubicBezTo>
                    <a:pt x="452293" y="68764"/>
                    <a:pt x="452635" y="50579"/>
                    <a:pt x="450495" y="47569"/>
                  </a:cubicBezTo>
                  <a:cubicBezTo>
                    <a:pt x="423451" y="2915"/>
                    <a:pt x="342832" y="-5843"/>
                    <a:pt x="295762" y="3335"/>
                  </a:cubicBezTo>
                  <a:cubicBezTo>
                    <a:pt x="261272" y="11629"/>
                    <a:pt x="218908" y="22231"/>
                    <a:pt x="228494" y="59817"/>
                  </a:cubicBezTo>
                  <a:cubicBezTo>
                    <a:pt x="199310" y="64724"/>
                    <a:pt x="160797" y="95937"/>
                    <a:pt x="177400" y="128163"/>
                  </a:cubicBezTo>
                  <a:cubicBezTo>
                    <a:pt x="153095" y="145120"/>
                    <a:pt x="155320" y="184722"/>
                    <a:pt x="186044" y="192656"/>
                  </a:cubicBezTo>
                  <a:cubicBezTo>
                    <a:pt x="100034" y="281562"/>
                    <a:pt x="65030" y="412291"/>
                    <a:pt x="60237" y="536835"/>
                  </a:cubicBezTo>
                  <a:cubicBezTo>
                    <a:pt x="60922" y="617000"/>
                    <a:pt x="60836" y="697808"/>
                    <a:pt x="33450" y="774242"/>
                  </a:cubicBezTo>
                  <a:lnTo>
                    <a:pt x="33450" y="774250"/>
                  </a:lnTo>
                  <a:cubicBezTo>
                    <a:pt x="16076" y="841026"/>
                    <a:pt x="-16189" y="915315"/>
                    <a:pt x="14792" y="982520"/>
                  </a:cubicBezTo>
                  <a:cubicBezTo>
                    <a:pt x="15991" y="986131"/>
                    <a:pt x="20184" y="988078"/>
                    <a:pt x="23779" y="987160"/>
                  </a:cubicBezTo>
                  <a:cubicBezTo>
                    <a:pt x="30026" y="1034010"/>
                    <a:pt x="84371" y="1037690"/>
                    <a:pt x="121857" y="1034362"/>
                  </a:cubicBezTo>
                  <a:cubicBezTo>
                    <a:pt x="156604" y="1033221"/>
                    <a:pt x="195886" y="1031600"/>
                    <a:pt x="230205" y="1030116"/>
                  </a:cubicBezTo>
                  <a:cubicBezTo>
                    <a:pt x="233200" y="1029987"/>
                    <a:pt x="253655" y="1029095"/>
                    <a:pt x="255623" y="1029009"/>
                  </a:cubicBezTo>
                  <a:cubicBezTo>
                    <a:pt x="341977" y="1025184"/>
                    <a:pt x="454774" y="1021015"/>
                    <a:pt x="541384" y="1017936"/>
                  </a:cubicBezTo>
                  <a:cubicBezTo>
                    <a:pt x="569113" y="1014445"/>
                    <a:pt x="556276" y="967209"/>
                    <a:pt x="543182" y="953571"/>
                  </a:cubicBezTo>
                  <a:cubicBezTo>
                    <a:pt x="527349" y="717802"/>
                    <a:pt x="535651" y="484384"/>
                    <a:pt x="591023" y="254586"/>
                  </a:cubicBezTo>
                  <a:cubicBezTo>
                    <a:pt x="639890" y="276604"/>
                    <a:pt x="686105" y="271123"/>
                    <a:pt x="731721" y="251352"/>
                  </a:cubicBezTo>
                  <a:cubicBezTo>
                    <a:pt x="712293" y="403670"/>
                    <a:pt x="697060" y="595008"/>
                    <a:pt x="699028" y="737170"/>
                  </a:cubicBezTo>
                  <a:cubicBezTo>
                    <a:pt x="699970" y="789295"/>
                    <a:pt x="700654" y="825261"/>
                    <a:pt x="705190" y="872291"/>
                  </a:cubicBezTo>
                  <a:cubicBezTo>
                    <a:pt x="706817" y="887576"/>
                    <a:pt x="709726" y="902706"/>
                    <a:pt x="713834" y="917520"/>
                  </a:cubicBezTo>
                  <a:cubicBezTo>
                    <a:pt x="714433" y="920256"/>
                    <a:pt x="716488" y="922443"/>
                    <a:pt x="719140" y="923258"/>
                  </a:cubicBezTo>
                  <a:cubicBezTo>
                    <a:pt x="720424" y="968333"/>
                    <a:pt x="726243" y="1023674"/>
                    <a:pt x="784526" y="1021899"/>
                  </a:cubicBezTo>
                  <a:cubicBezTo>
                    <a:pt x="839983" y="1019300"/>
                    <a:pt x="896553" y="1014016"/>
                    <a:pt x="951327" y="1009865"/>
                  </a:cubicBezTo>
                  <a:cubicBezTo>
                    <a:pt x="977430" y="1007780"/>
                    <a:pt x="1004473" y="1005593"/>
                    <a:pt x="1030919" y="1003586"/>
                  </a:cubicBezTo>
                  <a:cubicBezTo>
                    <a:pt x="1046238" y="1001656"/>
                    <a:pt x="1063013" y="1003603"/>
                    <a:pt x="1077049" y="996132"/>
                  </a:cubicBezTo>
                  <a:cubicBezTo>
                    <a:pt x="1085948" y="990162"/>
                    <a:pt x="1092881" y="967063"/>
                    <a:pt x="1089886" y="954454"/>
                  </a:cubicBezTo>
                  <a:close/>
                  <a:moveTo>
                    <a:pt x="901347" y="180485"/>
                  </a:moveTo>
                  <a:cubicBezTo>
                    <a:pt x="900063" y="182870"/>
                    <a:pt x="898864" y="185280"/>
                    <a:pt x="897752" y="187664"/>
                  </a:cubicBezTo>
                  <a:cubicBezTo>
                    <a:pt x="897495" y="188136"/>
                    <a:pt x="895355" y="192794"/>
                    <a:pt x="895099" y="193377"/>
                  </a:cubicBezTo>
                  <a:cubicBezTo>
                    <a:pt x="887995" y="208928"/>
                    <a:pt x="881833" y="225268"/>
                    <a:pt x="875929" y="241076"/>
                  </a:cubicBezTo>
                  <a:lnTo>
                    <a:pt x="875929" y="241093"/>
                  </a:lnTo>
                  <a:cubicBezTo>
                    <a:pt x="790602" y="462374"/>
                    <a:pt x="747126" y="700390"/>
                    <a:pt x="745928" y="937231"/>
                  </a:cubicBezTo>
                  <a:cubicBezTo>
                    <a:pt x="745928" y="938552"/>
                    <a:pt x="745671" y="940610"/>
                    <a:pt x="745329" y="939435"/>
                  </a:cubicBezTo>
                  <a:cubicBezTo>
                    <a:pt x="743531" y="933551"/>
                    <a:pt x="741734" y="928507"/>
                    <a:pt x="740279" y="922666"/>
                  </a:cubicBezTo>
                  <a:lnTo>
                    <a:pt x="740279" y="922658"/>
                  </a:lnTo>
                  <a:cubicBezTo>
                    <a:pt x="738225" y="914029"/>
                    <a:pt x="734973" y="905700"/>
                    <a:pt x="731549" y="897586"/>
                  </a:cubicBezTo>
                  <a:cubicBezTo>
                    <a:pt x="721451" y="692276"/>
                    <a:pt x="730352" y="479418"/>
                    <a:pt x="752089" y="276655"/>
                  </a:cubicBezTo>
                  <a:cubicBezTo>
                    <a:pt x="756540" y="229960"/>
                    <a:pt x="760306" y="189431"/>
                    <a:pt x="761932" y="144048"/>
                  </a:cubicBezTo>
                  <a:cubicBezTo>
                    <a:pt x="762446" y="130487"/>
                    <a:pt x="758252" y="90550"/>
                    <a:pt x="756369" y="78430"/>
                  </a:cubicBezTo>
                  <a:cubicBezTo>
                    <a:pt x="756197" y="77384"/>
                    <a:pt x="757310" y="76689"/>
                    <a:pt x="758252" y="77255"/>
                  </a:cubicBezTo>
                  <a:cubicBezTo>
                    <a:pt x="782814" y="92755"/>
                    <a:pt x="808232" y="105947"/>
                    <a:pt x="833393" y="120194"/>
                  </a:cubicBezTo>
                  <a:cubicBezTo>
                    <a:pt x="852735" y="131345"/>
                    <a:pt x="872334" y="141586"/>
                    <a:pt x="893387" y="150121"/>
                  </a:cubicBezTo>
                  <a:cubicBezTo>
                    <a:pt x="900148" y="153166"/>
                    <a:pt x="908022" y="156399"/>
                    <a:pt x="915211" y="153226"/>
                  </a:cubicBezTo>
                  <a:cubicBezTo>
                    <a:pt x="915297" y="153183"/>
                    <a:pt x="915211" y="153629"/>
                    <a:pt x="915211" y="153629"/>
                  </a:cubicBezTo>
                  <a:lnTo>
                    <a:pt x="915211" y="153638"/>
                  </a:lnTo>
                  <a:cubicBezTo>
                    <a:pt x="911017" y="161666"/>
                    <a:pt x="907337" y="169300"/>
                    <a:pt x="903400" y="178023"/>
                  </a:cubicBezTo>
                  <a:cubicBezTo>
                    <a:pt x="902459" y="178684"/>
                    <a:pt x="901774" y="179524"/>
                    <a:pt x="901347" y="180485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326" name="Graphic 39" descr="Man wearing a jacket">
              <a:extLst>
                <a:ext uri="{FF2B5EF4-FFF2-40B4-BE49-F238E27FC236}">
                  <a16:creationId xmlns:a16="http://schemas.microsoft.com/office/drawing/2014/main" id="{5E95B7CB-505C-30F3-29A0-2D2CA000E4EE}"/>
                </a:ext>
              </a:extLst>
            </p:cNvPr>
            <p:cNvGrpSpPr/>
            <p:nvPr/>
          </p:nvGrpSpPr>
          <p:grpSpPr>
            <a:xfrm>
              <a:off x="4071652" y="3884092"/>
              <a:ext cx="788425" cy="570059"/>
              <a:chOff x="4071652" y="4001036"/>
              <a:chExt cx="788425" cy="570059"/>
            </a:xfrm>
            <a:solidFill>
              <a:srgbClr val="FFFFFF"/>
            </a:solidFill>
          </p:grpSpPr>
          <p:sp>
            <p:nvSpPr>
              <p:cNvPr id="382" name="Freeform: Shape 381">
                <a:extLst>
                  <a:ext uri="{FF2B5EF4-FFF2-40B4-BE49-F238E27FC236}">
                    <a16:creationId xmlns:a16="http://schemas.microsoft.com/office/drawing/2014/main" id="{ACACC731-2403-B6D5-3116-8F68B1C828A0}"/>
                  </a:ext>
                </a:extLst>
              </p:cNvPr>
              <p:cNvSpPr/>
              <p:nvPr/>
            </p:nvSpPr>
            <p:spPr>
              <a:xfrm>
                <a:off x="4833313" y="4266172"/>
                <a:ext cx="26764" cy="249603"/>
              </a:xfrm>
              <a:custGeom>
                <a:avLst/>
                <a:gdLst>
                  <a:gd name="connsiteX0" fmla="*/ 7361 w 26764"/>
                  <a:gd name="connsiteY0" fmla="*/ 78 h 249603"/>
                  <a:gd name="connsiteX1" fmla="*/ 1884 w 26764"/>
                  <a:gd name="connsiteY1" fmla="*/ 5370 h 249603"/>
                  <a:gd name="connsiteX2" fmla="*/ 17632 w 26764"/>
                  <a:gd name="connsiteY2" fmla="*/ 244544 h 249603"/>
                  <a:gd name="connsiteX3" fmla="*/ 28586 w 26764"/>
                  <a:gd name="connsiteY3" fmla="*/ 244544 h 249603"/>
                  <a:gd name="connsiteX4" fmla="*/ 12838 w 26764"/>
                  <a:gd name="connsiteY4" fmla="*/ 5379 h 249603"/>
                  <a:gd name="connsiteX5" fmla="*/ 7361 w 26764"/>
                  <a:gd name="connsiteY5" fmla="*/ 78 h 249603"/>
                  <a:gd name="connsiteX6" fmla="*/ 7361 w 26764"/>
                  <a:gd name="connsiteY6" fmla="*/ 78 h 24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64" h="249603">
                    <a:moveTo>
                      <a:pt x="7361" y="78"/>
                    </a:moveTo>
                    <a:cubicBezTo>
                      <a:pt x="4451" y="-33"/>
                      <a:pt x="1713" y="2377"/>
                      <a:pt x="1884" y="5370"/>
                    </a:cubicBezTo>
                    <a:cubicBezTo>
                      <a:pt x="1969" y="76357"/>
                      <a:pt x="7875" y="165760"/>
                      <a:pt x="17632" y="244544"/>
                    </a:cubicBezTo>
                    <a:cubicBezTo>
                      <a:pt x="17973" y="250917"/>
                      <a:pt x="29528" y="251826"/>
                      <a:pt x="28586" y="244544"/>
                    </a:cubicBezTo>
                    <a:cubicBezTo>
                      <a:pt x="19343" y="170512"/>
                      <a:pt x="12838" y="78056"/>
                      <a:pt x="12838" y="5379"/>
                    </a:cubicBezTo>
                    <a:cubicBezTo>
                      <a:pt x="12924" y="2360"/>
                      <a:pt x="10357" y="-119"/>
                      <a:pt x="7361" y="78"/>
                    </a:cubicBezTo>
                    <a:lnTo>
                      <a:pt x="7361" y="78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B00354CE-FA01-8DBF-7F89-A82624FB3DE3}"/>
                  </a:ext>
                </a:extLst>
              </p:cNvPr>
              <p:cNvSpPr/>
              <p:nvPr/>
            </p:nvSpPr>
            <p:spPr>
              <a:xfrm>
                <a:off x="4194443" y="4357574"/>
                <a:ext cx="139610" cy="96426"/>
              </a:xfrm>
              <a:custGeom>
                <a:avLst/>
                <a:gdLst>
                  <a:gd name="connsiteX0" fmla="*/ 135901 w 139610"/>
                  <a:gd name="connsiteY0" fmla="*/ 68 h 96426"/>
                  <a:gd name="connsiteX1" fmla="*/ 4190 w 139610"/>
                  <a:gd name="connsiteY1" fmla="*/ 85989 h 96426"/>
                  <a:gd name="connsiteX2" fmla="*/ 2220 w 139610"/>
                  <a:gd name="connsiteY2" fmla="*/ 92722 h 96426"/>
                  <a:gd name="connsiteX3" fmla="*/ 9666 w 139610"/>
                  <a:gd name="connsiteY3" fmla="*/ 95450 h 96426"/>
                  <a:gd name="connsiteX4" fmla="*/ 72570 w 139610"/>
                  <a:gd name="connsiteY4" fmla="*/ 50186 h 96426"/>
                  <a:gd name="connsiteX5" fmla="*/ 138811 w 139610"/>
                  <a:gd name="connsiteY5" fmla="*/ 10224 h 96426"/>
                  <a:gd name="connsiteX6" fmla="*/ 135901 w 139610"/>
                  <a:gd name="connsiteY6" fmla="*/ 68 h 96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610" h="96426">
                    <a:moveTo>
                      <a:pt x="135901" y="68"/>
                    </a:moveTo>
                    <a:cubicBezTo>
                      <a:pt x="89430" y="22781"/>
                      <a:pt x="47837" y="53163"/>
                      <a:pt x="4190" y="85989"/>
                    </a:cubicBezTo>
                    <a:cubicBezTo>
                      <a:pt x="2135" y="87567"/>
                      <a:pt x="1365" y="90295"/>
                      <a:pt x="2220" y="92722"/>
                    </a:cubicBezTo>
                    <a:cubicBezTo>
                      <a:pt x="2991" y="95913"/>
                      <a:pt x="7099" y="97783"/>
                      <a:pt x="9666" y="95450"/>
                    </a:cubicBezTo>
                    <a:cubicBezTo>
                      <a:pt x="31747" y="78475"/>
                      <a:pt x="52287" y="63670"/>
                      <a:pt x="72570" y="50186"/>
                    </a:cubicBezTo>
                    <a:cubicBezTo>
                      <a:pt x="95249" y="35056"/>
                      <a:pt x="116902" y="21984"/>
                      <a:pt x="138811" y="10224"/>
                    </a:cubicBezTo>
                    <a:cubicBezTo>
                      <a:pt x="143860" y="7908"/>
                      <a:pt x="141122" y="-52"/>
                      <a:pt x="135901" y="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C7BF7D3B-797D-ABC3-F19F-ADB7B84C6FAF}"/>
                  </a:ext>
                </a:extLst>
              </p:cNvPr>
              <p:cNvSpPr/>
              <p:nvPr/>
            </p:nvSpPr>
            <p:spPr>
              <a:xfrm>
                <a:off x="4716933" y="4351640"/>
                <a:ext cx="45496" cy="38453"/>
              </a:xfrm>
              <a:custGeom>
                <a:avLst/>
                <a:gdLst>
                  <a:gd name="connsiteX0" fmla="*/ 7349 w 45496"/>
                  <a:gd name="connsiteY0" fmla="*/ 67 h 38453"/>
                  <a:gd name="connsiteX1" fmla="*/ 45263 w 45496"/>
                  <a:gd name="connsiteY1" fmla="*/ 37516 h 38453"/>
                  <a:gd name="connsiteX2" fmla="*/ 44663 w 45496"/>
                  <a:gd name="connsiteY2" fmla="*/ 28793 h 38453"/>
                  <a:gd name="connsiteX3" fmla="*/ 11971 w 45496"/>
                  <a:gd name="connsiteY3" fmla="*/ 2357 h 38453"/>
                  <a:gd name="connsiteX4" fmla="*/ 7349 w 45496"/>
                  <a:gd name="connsiteY4" fmla="*/ 67 h 38453"/>
                  <a:gd name="connsiteX5" fmla="*/ 7349 w 45496"/>
                  <a:gd name="connsiteY5" fmla="*/ 67 h 3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496" h="38453">
                    <a:moveTo>
                      <a:pt x="7349" y="67"/>
                    </a:moveTo>
                    <a:cubicBezTo>
                      <a:pt x="-15245" y="1311"/>
                      <a:pt x="39016" y="45691"/>
                      <a:pt x="45263" y="37516"/>
                    </a:cubicBezTo>
                    <a:cubicBezTo>
                      <a:pt x="48087" y="35269"/>
                      <a:pt x="48258" y="30320"/>
                      <a:pt x="44663" y="28793"/>
                    </a:cubicBezTo>
                    <a:cubicBezTo>
                      <a:pt x="31911" y="22506"/>
                      <a:pt x="20786" y="13482"/>
                      <a:pt x="11971" y="2357"/>
                    </a:cubicBezTo>
                    <a:cubicBezTo>
                      <a:pt x="10858" y="908"/>
                      <a:pt x="9146" y="58"/>
                      <a:pt x="7349" y="67"/>
                    </a:cubicBezTo>
                    <a:lnTo>
                      <a:pt x="7349" y="67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1D3DC4EE-9272-45B5-0F94-CB9E2A49BC43}"/>
                  </a:ext>
                </a:extLst>
              </p:cNvPr>
              <p:cNvSpPr/>
              <p:nvPr/>
            </p:nvSpPr>
            <p:spPr>
              <a:xfrm>
                <a:off x="4167170" y="4026210"/>
                <a:ext cx="138157" cy="55471"/>
              </a:xfrm>
              <a:custGeom>
                <a:avLst/>
                <a:gdLst>
                  <a:gd name="connsiteX0" fmla="*/ 8525 w 138157"/>
                  <a:gd name="connsiteY0" fmla="*/ 69 h 55471"/>
                  <a:gd name="connsiteX1" fmla="*/ 6899 w 138157"/>
                  <a:gd name="connsiteY1" fmla="*/ 51104 h 55471"/>
                  <a:gd name="connsiteX2" fmla="*/ 23588 w 138157"/>
                  <a:gd name="connsiteY2" fmla="*/ 55539 h 55471"/>
                  <a:gd name="connsiteX3" fmla="*/ 139638 w 138157"/>
                  <a:gd name="connsiteY3" fmla="*/ 30613 h 55471"/>
                  <a:gd name="connsiteX4" fmla="*/ 109171 w 138157"/>
                  <a:gd name="connsiteY4" fmla="*/ 28820 h 55471"/>
                  <a:gd name="connsiteX5" fmla="*/ 16570 w 138157"/>
                  <a:gd name="connsiteY5" fmla="*/ 44414 h 55471"/>
                  <a:gd name="connsiteX6" fmla="*/ 14260 w 138157"/>
                  <a:gd name="connsiteY6" fmla="*/ 6913 h 55471"/>
                  <a:gd name="connsiteX7" fmla="*/ 8525 w 138157"/>
                  <a:gd name="connsiteY7" fmla="*/ 69 h 5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157" h="55471">
                    <a:moveTo>
                      <a:pt x="8525" y="69"/>
                    </a:moveTo>
                    <a:cubicBezTo>
                      <a:pt x="-4227" y="3731"/>
                      <a:pt x="4930" y="41695"/>
                      <a:pt x="6899" y="51104"/>
                    </a:cubicBezTo>
                    <a:cubicBezTo>
                      <a:pt x="9381" y="57598"/>
                      <a:pt x="18025" y="54750"/>
                      <a:pt x="23588" y="55539"/>
                    </a:cubicBezTo>
                    <a:cubicBezTo>
                      <a:pt x="62613" y="54312"/>
                      <a:pt x="103265" y="43556"/>
                      <a:pt x="139638" y="30613"/>
                    </a:cubicBezTo>
                    <a:cubicBezTo>
                      <a:pt x="143575" y="13441"/>
                      <a:pt x="117045" y="28297"/>
                      <a:pt x="109171" y="28820"/>
                    </a:cubicBezTo>
                    <a:cubicBezTo>
                      <a:pt x="79045" y="37158"/>
                      <a:pt x="47893" y="45786"/>
                      <a:pt x="16570" y="44414"/>
                    </a:cubicBezTo>
                    <a:cubicBezTo>
                      <a:pt x="13917" y="32869"/>
                      <a:pt x="11520" y="19385"/>
                      <a:pt x="14260" y="6913"/>
                    </a:cubicBezTo>
                    <a:cubicBezTo>
                      <a:pt x="15287" y="3362"/>
                      <a:pt x="12034" y="-17"/>
                      <a:pt x="8525" y="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BB176953-AABD-00E9-5BAF-04608DEA72E1}"/>
                  </a:ext>
                </a:extLst>
              </p:cNvPr>
              <p:cNvSpPr/>
              <p:nvPr/>
            </p:nvSpPr>
            <p:spPr>
              <a:xfrm>
                <a:off x="4729498" y="4001036"/>
                <a:ext cx="67560" cy="52815"/>
              </a:xfrm>
              <a:custGeom>
                <a:avLst/>
                <a:gdLst>
                  <a:gd name="connsiteX0" fmla="*/ 6680 w 67560"/>
                  <a:gd name="connsiteY0" fmla="*/ 34386 h 52815"/>
                  <a:gd name="connsiteX1" fmla="*/ 44849 w 67560"/>
                  <a:gd name="connsiteY1" fmla="*/ 51876 h 52815"/>
                  <a:gd name="connsiteX2" fmla="*/ 68043 w 67560"/>
                  <a:gd name="connsiteY2" fmla="*/ 1655 h 52815"/>
                  <a:gd name="connsiteX3" fmla="*/ 56746 w 67560"/>
                  <a:gd name="connsiteY3" fmla="*/ 24342 h 52815"/>
                  <a:gd name="connsiteX4" fmla="*/ 6680 w 67560"/>
                  <a:gd name="connsiteY4" fmla="*/ 34386 h 52815"/>
                  <a:gd name="connsiteX5" fmla="*/ 6680 w 67560"/>
                  <a:gd name="connsiteY5" fmla="*/ 34386 h 52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560" h="52815">
                    <a:moveTo>
                      <a:pt x="6680" y="34386"/>
                    </a:moveTo>
                    <a:cubicBezTo>
                      <a:pt x="-13603" y="45854"/>
                      <a:pt x="36377" y="56207"/>
                      <a:pt x="44849" y="51876"/>
                    </a:cubicBezTo>
                    <a:cubicBezTo>
                      <a:pt x="65304" y="47741"/>
                      <a:pt x="72835" y="17892"/>
                      <a:pt x="68043" y="1655"/>
                    </a:cubicBezTo>
                    <a:cubicBezTo>
                      <a:pt x="54093" y="-6202"/>
                      <a:pt x="59912" y="17291"/>
                      <a:pt x="56746" y="24342"/>
                    </a:cubicBezTo>
                    <a:cubicBezTo>
                      <a:pt x="51782" y="50538"/>
                      <a:pt x="23198" y="41145"/>
                      <a:pt x="6680" y="34386"/>
                    </a:cubicBezTo>
                    <a:lnTo>
                      <a:pt x="6680" y="34386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7" name="Freeform: Shape 386">
                <a:extLst>
                  <a:ext uri="{FF2B5EF4-FFF2-40B4-BE49-F238E27FC236}">
                    <a16:creationId xmlns:a16="http://schemas.microsoft.com/office/drawing/2014/main" id="{5B981EE4-8F2A-6047-AAC7-667CFFBCECAF}"/>
                  </a:ext>
                </a:extLst>
              </p:cNvPr>
              <p:cNvSpPr/>
              <p:nvPr/>
            </p:nvSpPr>
            <p:spPr>
              <a:xfrm>
                <a:off x="4071652" y="4117812"/>
                <a:ext cx="59718" cy="453283"/>
              </a:xfrm>
              <a:custGeom>
                <a:avLst/>
                <a:gdLst>
                  <a:gd name="connsiteX0" fmla="*/ 50640 w 59718"/>
                  <a:gd name="connsiteY0" fmla="*/ 448443 h 453283"/>
                  <a:gd name="connsiteX1" fmla="*/ 35662 w 59718"/>
                  <a:gd name="connsiteY1" fmla="*/ 54309 h 453283"/>
                  <a:gd name="connsiteX2" fmla="*/ 1942 w 59718"/>
                  <a:gd name="connsiteY2" fmla="*/ 29314 h 453283"/>
                  <a:gd name="connsiteX3" fmla="*/ 35748 w 59718"/>
                  <a:gd name="connsiteY3" fmla="*/ 40044 h 453283"/>
                  <a:gd name="connsiteX4" fmla="*/ 45676 w 59718"/>
                  <a:gd name="connsiteY4" fmla="*/ 1678 h 453283"/>
                  <a:gd name="connsiteX5" fmla="*/ 47387 w 59718"/>
                  <a:gd name="connsiteY5" fmla="*/ 109831 h 453283"/>
                  <a:gd name="connsiteX6" fmla="*/ 61594 w 59718"/>
                  <a:gd name="connsiteY6" fmla="*/ 447979 h 453283"/>
                  <a:gd name="connsiteX7" fmla="*/ 56117 w 59718"/>
                  <a:gd name="connsiteY7" fmla="*/ 453340 h 453283"/>
                  <a:gd name="connsiteX8" fmla="*/ 50640 w 59718"/>
                  <a:gd name="connsiteY8" fmla="*/ 448443 h 453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18" h="453283">
                    <a:moveTo>
                      <a:pt x="50640" y="448443"/>
                    </a:moveTo>
                    <a:cubicBezTo>
                      <a:pt x="46532" y="317311"/>
                      <a:pt x="36005" y="186436"/>
                      <a:pt x="35662" y="54309"/>
                    </a:cubicBezTo>
                    <a:cubicBezTo>
                      <a:pt x="25906" y="43887"/>
                      <a:pt x="11357" y="39281"/>
                      <a:pt x="1942" y="29314"/>
                    </a:cubicBezTo>
                    <a:cubicBezTo>
                      <a:pt x="317" y="9972"/>
                      <a:pt x="29072" y="36485"/>
                      <a:pt x="35748" y="40044"/>
                    </a:cubicBezTo>
                    <a:cubicBezTo>
                      <a:pt x="37631" y="29005"/>
                      <a:pt x="29928" y="-8049"/>
                      <a:pt x="45676" y="1678"/>
                    </a:cubicBezTo>
                    <a:cubicBezTo>
                      <a:pt x="49013" y="34864"/>
                      <a:pt x="45162" y="70434"/>
                      <a:pt x="47387" y="109831"/>
                    </a:cubicBezTo>
                    <a:cubicBezTo>
                      <a:pt x="49955" y="223671"/>
                      <a:pt x="57828" y="334397"/>
                      <a:pt x="61594" y="447979"/>
                    </a:cubicBezTo>
                    <a:cubicBezTo>
                      <a:pt x="61594" y="447979"/>
                      <a:pt x="61337" y="453066"/>
                      <a:pt x="56117" y="453340"/>
                    </a:cubicBezTo>
                    <a:cubicBezTo>
                      <a:pt x="51152" y="453606"/>
                      <a:pt x="50640" y="448443"/>
                      <a:pt x="50640" y="4484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96A3DA48-0527-0E8F-2DE0-82189CEF5B57}"/>
                </a:ext>
              </a:extLst>
            </p:cNvPr>
            <p:cNvSpPr/>
            <p:nvPr/>
          </p:nvSpPr>
          <p:spPr>
            <a:xfrm>
              <a:off x="4286604" y="3022284"/>
              <a:ext cx="494110" cy="496266"/>
            </a:xfrm>
            <a:custGeom>
              <a:avLst/>
              <a:gdLst>
                <a:gd name="connsiteX0" fmla="*/ 91211 w 494110"/>
                <a:gd name="connsiteY0" fmla="*/ 211457 h 496266"/>
                <a:gd name="connsiteX1" fmla="*/ 1348 w 494110"/>
                <a:gd name="connsiteY1" fmla="*/ 284795 h 496266"/>
                <a:gd name="connsiteX2" fmla="*/ 89747 w 494110"/>
                <a:gd name="connsiteY2" fmla="*/ 350489 h 496266"/>
                <a:gd name="connsiteX3" fmla="*/ 115816 w 494110"/>
                <a:gd name="connsiteY3" fmla="*/ 381128 h 496266"/>
                <a:gd name="connsiteX4" fmla="*/ 347574 w 494110"/>
                <a:gd name="connsiteY4" fmla="*/ 495886 h 496266"/>
                <a:gd name="connsiteX5" fmla="*/ 464095 w 494110"/>
                <a:gd name="connsiteY5" fmla="*/ 413791 h 496266"/>
                <a:gd name="connsiteX6" fmla="*/ 493878 w 494110"/>
                <a:gd name="connsiteY6" fmla="*/ 278439 h 496266"/>
                <a:gd name="connsiteX7" fmla="*/ 464284 w 494110"/>
                <a:gd name="connsiteY7" fmla="*/ 120983 h 496266"/>
                <a:gd name="connsiteX8" fmla="*/ 220184 w 494110"/>
                <a:gd name="connsiteY8" fmla="*/ 2073 h 496266"/>
                <a:gd name="connsiteX9" fmla="*/ 91211 w 494110"/>
                <a:gd name="connsiteY9" fmla="*/ 211457 h 49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4110" h="496266">
                  <a:moveTo>
                    <a:pt x="91211" y="211457"/>
                  </a:moveTo>
                  <a:cubicBezTo>
                    <a:pt x="91211" y="211457"/>
                    <a:pt x="-12952" y="215652"/>
                    <a:pt x="1348" y="284795"/>
                  </a:cubicBezTo>
                  <a:cubicBezTo>
                    <a:pt x="17361" y="362198"/>
                    <a:pt x="89747" y="350489"/>
                    <a:pt x="89747" y="350489"/>
                  </a:cubicBezTo>
                  <a:lnTo>
                    <a:pt x="115816" y="381128"/>
                  </a:lnTo>
                  <a:cubicBezTo>
                    <a:pt x="115816" y="381128"/>
                    <a:pt x="204189" y="503949"/>
                    <a:pt x="347574" y="495886"/>
                  </a:cubicBezTo>
                  <a:cubicBezTo>
                    <a:pt x="347574" y="495886"/>
                    <a:pt x="421475" y="489959"/>
                    <a:pt x="464095" y="413791"/>
                  </a:cubicBezTo>
                  <a:cubicBezTo>
                    <a:pt x="491550" y="364728"/>
                    <a:pt x="495205" y="309755"/>
                    <a:pt x="493878" y="278439"/>
                  </a:cubicBezTo>
                  <a:cubicBezTo>
                    <a:pt x="490438" y="197459"/>
                    <a:pt x="464284" y="120983"/>
                    <a:pt x="464284" y="120983"/>
                  </a:cubicBezTo>
                  <a:cubicBezTo>
                    <a:pt x="464284" y="120983"/>
                    <a:pt x="390665" y="-18513"/>
                    <a:pt x="220184" y="2073"/>
                  </a:cubicBezTo>
                  <a:cubicBezTo>
                    <a:pt x="84655" y="18439"/>
                    <a:pt x="98477" y="166246"/>
                    <a:pt x="91211" y="211457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28" name="Graphic 39" descr="Man wearing a jacket">
              <a:extLst>
                <a:ext uri="{FF2B5EF4-FFF2-40B4-BE49-F238E27FC236}">
                  <a16:creationId xmlns:a16="http://schemas.microsoft.com/office/drawing/2014/main" id="{96ECAE82-8A69-6B01-0620-67210BEF78A4}"/>
                </a:ext>
              </a:extLst>
            </p:cNvPr>
            <p:cNvGrpSpPr/>
            <p:nvPr/>
          </p:nvGrpSpPr>
          <p:grpSpPr>
            <a:xfrm>
              <a:off x="4242458" y="2851065"/>
              <a:ext cx="612685" cy="673912"/>
              <a:chOff x="4242458" y="2968009"/>
              <a:chExt cx="612685" cy="673912"/>
            </a:xfrm>
            <a:solidFill>
              <a:srgbClr val="191246"/>
            </a:solidFill>
          </p:grpSpPr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9DAD88FC-966E-AACE-6F51-CD66091113B9}"/>
                  </a:ext>
                </a:extLst>
              </p:cNvPr>
              <p:cNvSpPr/>
              <p:nvPr/>
            </p:nvSpPr>
            <p:spPr>
              <a:xfrm>
                <a:off x="4319950" y="3387106"/>
                <a:ext cx="46831" cy="43944"/>
              </a:xfrm>
              <a:custGeom>
                <a:avLst/>
                <a:gdLst>
                  <a:gd name="connsiteX0" fmla="*/ 2570 w 46831"/>
                  <a:gd name="connsiteY0" fmla="*/ 1474 h 43944"/>
                  <a:gd name="connsiteX1" fmla="*/ 3828 w 46831"/>
                  <a:gd name="connsiteY1" fmla="*/ 11150 h 43944"/>
                  <a:gd name="connsiteX2" fmla="*/ 14740 w 46831"/>
                  <a:gd name="connsiteY2" fmla="*/ 13569 h 43944"/>
                  <a:gd name="connsiteX3" fmla="*/ 24522 w 46831"/>
                  <a:gd name="connsiteY3" fmla="*/ 22206 h 43944"/>
                  <a:gd name="connsiteX4" fmla="*/ 30444 w 46831"/>
                  <a:gd name="connsiteY4" fmla="*/ 32285 h 43944"/>
                  <a:gd name="connsiteX5" fmla="*/ 35802 w 46831"/>
                  <a:gd name="connsiteY5" fmla="*/ 42312 h 43944"/>
                  <a:gd name="connsiteX6" fmla="*/ 44873 w 46831"/>
                  <a:gd name="connsiteY6" fmla="*/ 41137 h 43944"/>
                  <a:gd name="connsiteX7" fmla="*/ 33303 w 46831"/>
                  <a:gd name="connsiteY7" fmla="*/ 10875 h 43944"/>
                  <a:gd name="connsiteX8" fmla="*/ 2570 w 46831"/>
                  <a:gd name="connsiteY8" fmla="*/ 1474 h 4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831" h="43944">
                    <a:moveTo>
                      <a:pt x="2570" y="1474"/>
                    </a:moveTo>
                    <a:cubicBezTo>
                      <a:pt x="-1547" y="3310"/>
                      <a:pt x="-417" y="10283"/>
                      <a:pt x="3828" y="11150"/>
                    </a:cubicBezTo>
                    <a:cubicBezTo>
                      <a:pt x="7696" y="11939"/>
                      <a:pt x="11145" y="11613"/>
                      <a:pt x="14740" y="13569"/>
                    </a:cubicBezTo>
                    <a:cubicBezTo>
                      <a:pt x="18514" y="15619"/>
                      <a:pt x="21817" y="18895"/>
                      <a:pt x="24522" y="22206"/>
                    </a:cubicBezTo>
                    <a:cubicBezTo>
                      <a:pt x="26978" y="25208"/>
                      <a:pt x="29040" y="28665"/>
                      <a:pt x="30444" y="32285"/>
                    </a:cubicBezTo>
                    <a:cubicBezTo>
                      <a:pt x="32027" y="36350"/>
                      <a:pt x="32404" y="39292"/>
                      <a:pt x="35802" y="42312"/>
                    </a:cubicBezTo>
                    <a:cubicBezTo>
                      <a:pt x="38720" y="44902"/>
                      <a:pt x="42700" y="44336"/>
                      <a:pt x="44873" y="41137"/>
                    </a:cubicBezTo>
                    <a:cubicBezTo>
                      <a:pt x="51378" y="31564"/>
                      <a:pt x="40166" y="17437"/>
                      <a:pt x="33303" y="10875"/>
                    </a:cubicBezTo>
                    <a:cubicBezTo>
                      <a:pt x="25882" y="3756"/>
                      <a:pt x="12805" y="-3089"/>
                      <a:pt x="2570" y="1474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81" name="Freeform: Shape 380">
                <a:extLst>
                  <a:ext uri="{FF2B5EF4-FFF2-40B4-BE49-F238E27FC236}">
                    <a16:creationId xmlns:a16="http://schemas.microsoft.com/office/drawing/2014/main" id="{AB2AC31C-1D42-8A55-0A77-AC462FB81158}"/>
                  </a:ext>
                </a:extLst>
              </p:cNvPr>
              <p:cNvSpPr/>
              <p:nvPr/>
            </p:nvSpPr>
            <p:spPr>
              <a:xfrm>
                <a:off x="4242458" y="2968009"/>
                <a:ext cx="612685" cy="673912"/>
              </a:xfrm>
              <a:custGeom>
                <a:avLst/>
                <a:gdLst>
                  <a:gd name="connsiteX0" fmla="*/ 612234 w 612685"/>
                  <a:gd name="connsiteY0" fmla="*/ 300350 h 673912"/>
                  <a:gd name="connsiteX1" fmla="*/ 600021 w 612685"/>
                  <a:gd name="connsiteY1" fmla="*/ 281188 h 673912"/>
                  <a:gd name="connsiteX2" fmla="*/ 566798 w 612685"/>
                  <a:gd name="connsiteY2" fmla="*/ 211642 h 673912"/>
                  <a:gd name="connsiteX3" fmla="*/ 517579 w 612685"/>
                  <a:gd name="connsiteY3" fmla="*/ 154045 h 673912"/>
                  <a:gd name="connsiteX4" fmla="*/ 557084 w 612685"/>
                  <a:gd name="connsiteY4" fmla="*/ 160701 h 673912"/>
                  <a:gd name="connsiteX5" fmla="*/ 559694 w 612685"/>
                  <a:gd name="connsiteY5" fmla="*/ 152381 h 673912"/>
                  <a:gd name="connsiteX6" fmla="*/ 339866 w 612685"/>
                  <a:gd name="connsiteY6" fmla="*/ 42529 h 673912"/>
                  <a:gd name="connsiteX7" fmla="*/ 347389 w 612685"/>
                  <a:gd name="connsiteY7" fmla="*/ 30890 h 673912"/>
                  <a:gd name="connsiteX8" fmla="*/ 357539 w 612685"/>
                  <a:gd name="connsiteY8" fmla="*/ 5175 h 673912"/>
                  <a:gd name="connsiteX9" fmla="*/ 355519 w 612685"/>
                  <a:gd name="connsiteY9" fmla="*/ 11 h 673912"/>
                  <a:gd name="connsiteX10" fmla="*/ 333345 w 612685"/>
                  <a:gd name="connsiteY10" fmla="*/ 4694 h 673912"/>
                  <a:gd name="connsiteX11" fmla="*/ 251716 w 612685"/>
                  <a:gd name="connsiteY11" fmla="*/ 31362 h 673912"/>
                  <a:gd name="connsiteX12" fmla="*/ 167245 w 612685"/>
                  <a:gd name="connsiteY12" fmla="*/ 72525 h 673912"/>
                  <a:gd name="connsiteX13" fmla="*/ 169993 w 612685"/>
                  <a:gd name="connsiteY13" fmla="*/ 56614 h 673912"/>
                  <a:gd name="connsiteX14" fmla="*/ 174563 w 612685"/>
                  <a:gd name="connsiteY14" fmla="*/ 38378 h 673912"/>
                  <a:gd name="connsiteX15" fmla="*/ 166116 w 612685"/>
                  <a:gd name="connsiteY15" fmla="*/ 36885 h 673912"/>
                  <a:gd name="connsiteX16" fmla="*/ 131455 w 612685"/>
                  <a:gd name="connsiteY16" fmla="*/ 89525 h 673912"/>
                  <a:gd name="connsiteX17" fmla="*/ 129187 w 612685"/>
                  <a:gd name="connsiteY17" fmla="*/ 93711 h 673912"/>
                  <a:gd name="connsiteX18" fmla="*/ 124017 w 612685"/>
                  <a:gd name="connsiteY18" fmla="*/ 93102 h 673912"/>
                  <a:gd name="connsiteX19" fmla="*/ 112301 w 612685"/>
                  <a:gd name="connsiteY19" fmla="*/ 92270 h 673912"/>
                  <a:gd name="connsiteX20" fmla="*/ 108493 w 612685"/>
                  <a:gd name="connsiteY20" fmla="*/ 96070 h 673912"/>
                  <a:gd name="connsiteX21" fmla="*/ 924 w 612685"/>
                  <a:gd name="connsiteY21" fmla="*/ 353076 h 673912"/>
                  <a:gd name="connsiteX22" fmla="*/ 2832 w 612685"/>
                  <a:gd name="connsiteY22" fmla="*/ 386820 h 673912"/>
                  <a:gd name="connsiteX23" fmla="*/ 2669 w 612685"/>
                  <a:gd name="connsiteY23" fmla="*/ 387909 h 673912"/>
                  <a:gd name="connsiteX24" fmla="*/ 7967 w 612685"/>
                  <a:gd name="connsiteY24" fmla="*/ 389350 h 673912"/>
                  <a:gd name="connsiteX25" fmla="*/ 26307 w 612685"/>
                  <a:gd name="connsiteY25" fmla="*/ 356258 h 673912"/>
                  <a:gd name="connsiteX26" fmla="*/ 37510 w 612685"/>
                  <a:gd name="connsiteY26" fmla="*/ 444477 h 673912"/>
                  <a:gd name="connsiteX27" fmla="*/ 54627 w 612685"/>
                  <a:gd name="connsiteY27" fmla="*/ 493558 h 673912"/>
                  <a:gd name="connsiteX28" fmla="*/ 80687 w 612685"/>
                  <a:gd name="connsiteY28" fmla="*/ 553325 h 673912"/>
                  <a:gd name="connsiteX29" fmla="*/ 99780 w 612685"/>
                  <a:gd name="connsiteY29" fmla="*/ 588664 h 673912"/>
                  <a:gd name="connsiteX30" fmla="*/ 119533 w 612685"/>
                  <a:gd name="connsiteY30" fmla="*/ 611275 h 673912"/>
                  <a:gd name="connsiteX31" fmla="*/ 124385 w 612685"/>
                  <a:gd name="connsiteY31" fmla="*/ 608676 h 673912"/>
                  <a:gd name="connsiteX32" fmla="*/ 128827 w 612685"/>
                  <a:gd name="connsiteY32" fmla="*/ 598563 h 673912"/>
                  <a:gd name="connsiteX33" fmla="*/ 130547 w 612685"/>
                  <a:gd name="connsiteY33" fmla="*/ 587524 h 673912"/>
                  <a:gd name="connsiteX34" fmla="*/ 139611 w 612685"/>
                  <a:gd name="connsiteY34" fmla="*/ 606891 h 673912"/>
                  <a:gd name="connsiteX35" fmla="*/ 154160 w 612685"/>
                  <a:gd name="connsiteY35" fmla="*/ 625993 h 673912"/>
                  <a:gd name="connsiteX36" fmla="*/ 157429 w 612685"/>
                  <a:gd name="connsiteY36" fmla="*/ 625144 h 673912"/>
                  <a:gd name="connsiteX37" fmla="*/ 161434 w 612685"/>
                  <a:gd name="connsiteY37" fmla="*/ 621602 h 673912"/>
                  <a:gd name="connsiteX38" fmla="*/ 171182 w 612685"/>
                  <a:gd name="connsiteY38" fmla="*/ 580010 h 673912"/>
                  <a:gd name="connsiteX39" fmla="*/ 189848 w 612685"/>
                  <a:gd name="connsiteY39" fmla="*/ 599215 h 673912"/>
                  <a:gd name="connsiteX40" fmla="*/ 221856 w 612685"/>
                  <a:gd name="connsiteY40" fmla="*/ 621181 h 673912"/>
                  <a:gd name="connsiteX41" fmla="*/ 227102 w 612685"/>
                  <a:gd name="connsiteY41" fmla="*/ 614337 h 673912"/>
                  <a:gd name="connsiteX42" fmla="*/ 201016 w 612685"/>
                  <a:gd name="connsiteY42" fmla="*/ 588012 h 673912"/>
                  <a:gd name="connsiteX43" fmla="*/ 139208 w 612685"/>
                  <a:gd name="connsiteY43" fmla="*/ 511021 h 673912"/>
                  <a:gd name="connsiteX44" fmla="*/ 138532 w 612685"/>
                  <a:gd name="connsiteY44" fmla="*/ 509949 h 673912"/>
                  <a:gd name="connsiteX45" fmla="*/ 129572 w 612685"/>
                  <a:gd name="connsiteY45" fmla="*/ 499613 h 673912"/>
                  <a:gd name="connsiteX46" fmla="*/ 123119 w 612685"/>
                  <a:gd name="connsiteY46" fmla="*/ 503327 h 673912"/>
                  <a:gd name="connsiteX47" fmla="*/ 123555 w 612685"/>
                  <a:gd name="connsiteY47" fmla="*/ 507745 h 673912"/>
                  <a:gd name="connsiteX48" fmla="*/ 63313 w 612685"/>
                  <a:gd name="connsiteY48" fmla="*/ 478264 h 673912"/>
                  <a:gd name="connsiteX49" fmla="*/ 73524 w 612685"/>
                  <a:gd name="connsiteY49" fmla="*/ 412801 h 673912"/>
                  <a:gd name="connsiteX50" fmla="*/ 93413 w 612685"/>
                  <a:gd name="connsiteY50" fmla="*/ 406771 h 673912"/>
                  <a:gd name="connsiteX51" fmla="*/ 105189 w 612685"/>
                  <a:gd name="connsiteY51" fmla="*/ 406900 h 673912"/>
                  <a:gd name="connsiteX52" fmla="*/ 118728 w 612685"/>
                  <a:gd name="connsiteY52" fmla="*/ 407732 h 673912"/>
                  <a:gd name="connsiteX53" fmla="*/ 154639 w 612685"/>
                  <a:gd name="connsiteY53" fmla="*/ 461229 h 673912"/>
                  <a:gd name="connsiteX54" fmla="*/ 164918 w 612685"/>
                  <a:gd name="connsiteY54" fmla="*/ 458527 h 673912"/>
                  <a:gd name="connsiteX55" fmla="*/ 166809 w 612685"/>
                  <a:gd name="connsiteY55" fmla="*/ 428266 h 673912"/>
                  <a:gd name="connsiteX56" fmla="*/ 181332 w 612685"/>
                  <a:gd name="connsiteY56" fmla="*/ 441261 h 673912"/>
                  <a:gd name="connsiteX57" fmla="*/ 189951 w 612685"/>
                  <a:gd name="connsiteY57" fmla="*/ 436303 h 673912"/>
                  <a:gd name="connsiteX58" fmla="*/ 200862 w 612685"/>
                  <a:gd name="connsiteY58" fmla="*/ 361285 h 673912"/>
                  <a:gd name="connsiteX59" fmla="*/ 228138 w 612685"/>
                  <a:gd name="connsiteY59" fmla="*/ 289140 h 673912"/>
                  <a:gd name="connsiteX60" fmla="*/ 250920 w 612685"/>
                  <a:gd name="connsiteY60" fmla="*/ 315438 h 673912"/>
                  <a:gd name="connsiteX61" fmla="*/ 260574 w 612685"/>
                  <a:gd name="connsiteY61" fmla="*/ 309803 h 673912"/>
                  <a:gd name="connsiteX62" fmla="*/ 247779 w 612685"/>
                  <a:gd name="connsiteY62" fmla="*/ 233395 h 673912"/>
                  <a:gd name="connsiteX63" fmla="*/ 278914 w 612685"/>
                  <a:gd name="connsiteY63" fmla="*/ 337817 h 673912"/>
                  <a:gd name="connsiteX64" fmla="*/ 289406 w 612685"/>
                  <a:gd name="connsiteY64" fmla="*/ 339189 h 673912"/>
                  <a:gd name="connsiteX65" fmla="*/ 307927 w 612685"/>
                  <a:gd name="connsiteY65" fmla="*/ 249186 h 673912"/>
                  <a:gd name="connsiteX66" fmla="*/ 325719 w 612685"/>
                  <a:gd name="connsiteY66" fmla="*/ 288642 h 673912"/>
                  <a:gd name="connsiteX67" fmla="*/ 337461 w 612685"/>
                  <a:gd name="connsiteY67" fmla="*/ 287047 h 673912"/>
                  <a:gd name="connsiteX68" fmla="*/ 338231 w 612685"/>
                  <a:gd name="connsiteY68" fmla="*/ 241766 h 673912"/>
                  <a:gd name="connsiteX69" fmla="*/ 508251 w 612685"/>
                  <a:gd name="connsiteY69" fmla="*/ 326211 h 673912"/>
                  <a:gd name="connsiteX70" fmla="*/ 519137 w 612685"/>
                  <a:gd name="connsiteY70" fmla="*/ 374228 h 673912"/>
                  <a:gd name="connsiteX71" fmla="*/ 528962 w 612685"/>
                  <a:gd name="connsiteY71" fmla="*/ 470090 h 673912"/>
                  <a:gd name="connsiteX72" fmla="*/ 447718 w 612685"/>
                  <a:gd name="connsiteY72" fmla="*/ 638499 h 673912"/>
                  <a:gd name="connsiteX73" fmla="*/ 353799 w 612685"/>
                  <a:gd name="connsiteY73" fmla="*/ 660183 h 673912"/>
                  <a:gd name="connsiteX74" fmla="*/ 318453 w 612685"/>
                  <a:gd name="connsiteY74" fmla="*/ 657387 h 673912"/>
                  <a:gd name="connsiteX75" fmla="*/ 317315 w 612685"/>
                  <a:gd name="connsiteY75" fmla="*/ 665827 h 673912"/>
                  <a:gd name="connsiteX76" fmla="*/ 382264 w 612685"/>
                  <a:gd name="connsiteY76" fmla="*/ 673710 h 673912"/>
                  <a:gd name="connsiteX77" fmla="*/ 513873 w 612685"/>
                  <a:gd name="connsiteY77" fmla="*/ 590517 h 673912"/>
                  <a:gd name="connsiteX78" fmla="*/ 542937 w 612685"/>
                  <a:gd name="connsiteY78" fmla="*/ 492177 h 673912"/>
                  <a:gd name="connsiteX79" fmla="*/ 539600 w 612685"/>
                  <a:gd name="connsiteY79" fmla="*/ 392995 h 673912"/>
                  <a:gd name="connsiteX80" fmla="*/ 524503 w 612685"/>
                  <a:gd name="connsiteY80" fmla="*/ 328399 h 673912"/>
                  <a:gd name="connsiteX81" fmla="*/ 576614 w 612685"/>
                  <a:gd name="connsiteY81" fmla="*/ 327155 h 673912"/>
                  <a:gd name="connsiteX82" fmla="*/ 576614 w 612685"/>
                  <a:gd name="connsiteY82" fmla="*/ 319796 h 673912"/>
                  <a:gd name="connsiteX83" fmla="*/ 559977 w 612685"/>
                  <a:gd name="connsiteY83" fmla="*/ 306689 h 673912"/>
                  <a:gd name="connsiteX84" fmla="*/ 534379 w 612685"/>
                  <a:gd name="connsiteY84" fmla="*/ 280820 h 673912"/>
                  <a:gd name="connsiteX85" fmla="*/ 589221 w 612685"/>
                  <a:gd name="connsiteY85" fmla="*/ 302984 h 673912"/>
                  <a:gd name="connsiteX86" fmla="*/ 609649 w 612685"/>
                  <a:gd name="connsiteY86" fmla="*/ 304699 h 673912"/>
                  <a:gd name="connsiteX87" fmla="*/ 612234 w 612685"/>
                  <a:gd name="connsiteY87" fmla="*/ 300350 h 67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612685" h="673912">
                    <a:moveTo>
                      <a:pt x="612234" y="300350"/>
                    </a:moveTo>
                    <a:cubicBezTo>
                      <a:pt x="608391" y="293814"/>
                      <a:pt x="603812" y="287784"/>
                      <a:pt x="600021" y="281188"/>
                    </a:cubicBezTo>
                    <a:cubicBezTo>
                      <a:pt x="587440" y="258715"/>
                      <a:pt x="580645" y="233481"/>
                      <a:pt x="566798" y="211642"/>
                    </a:cubicBezTo>
                    <a:cubicBezTo>
                      <a:pt x="553284" y="190345"/>
                      <a:pt x="537392" y="169947"/>
                      <a:pt x="517579" y="154045"/>
                    </a:cubicBezTo>
                    <a:cubicBezTo>
                      <a:pt x="530802" y="155915"/>
                      <a:pt x="543613" y="160675"/>
                      <a:pt x="557084" y="160701"/>
                    </a:cubicBezTo>
                    <a:cubicBezTo>
                      <a:pt x="561885" y="160710"/>
                      <a:pt x="562758" y="154611"/>
                      <a:pt x="559694" y="152381"/>
                    </a:cubicBezTo>
                    <a:cubicBezTo>
                      <a:pt x="521114" y="74077"/>
                      <a:pt x="425004" y="28780"/>
                      <a:pt x="339866" y="42529"/>
                    </a:cubicBezTo>
                    <a:cubicBezTo>
                      <a:pt x="342810" y="38807"/>
                      <a:pt x="345258" y="34587"/>
                      <a:pt x="347389" y="30890"/>
                    </a:cubicBezTo>
                    <a:cubicBezTo>
                      <a:pt x="351882" y="22904"/>
                      <a:pt x="357188" y="14524"/>
                      <a:pt x="357539" y="5175"/>
                    </a:cubicBezTo>
                    <a:cubicBezTo>
                      <a:pt x="359388" y="3433"/>
                      <a:pt x="358241" y="97"/>
                      <a:pt x="355519" y="11"/>
                    </a:cubicBezTo>
                    <a:cubicBezTo>
                      <a:pt x="348296" y="-203"/>
                      <a:pt x="340260" y="2781"/>
                      <a:pt x="333345" y="4694"/>
                    </a:cubicBezTo>
                    <a:cubicBezTo>
                      <a:pt x="305744" y="12345"/>
                      <a:pt x="278965" y="22604"/>
                      <a:pt x="251716" y="31362"/>
                    </a:cubicBezTo>
                    <a:cubicBezTo>
                      <a:pt x="221257" y="41243"/>
                      <a:pt x="192244" y="52368"/>
                      <a:pt x="167245" y="72525"/>
                    </a:cubicBezTo>
                    <a:cubicBezTo>
                      <a:pt x="169590" y="67764"/>
                      <a:pt x="169128" y="61786"/>
                      <a:pt x="169993" y="56614"/>
                    </a:cubicBezTo>
                    <a:cubicBezTo>
                      <a:pt x="171037" y="50412"/>
                      <a:pt x="172629" y="44348"/>
                      <a:pt x="174563" y="38378"/>
                    </a:cubicBezTo>
                    <a:cubicBezTo>
                      <a:pt x="176326" y="32597"/>
                      <a:pt x="167228" y="31139"/>
                      <a:pt x="166116" y="36885"/>
                    </a:cubicBezTo>
                    <a:cubicBezTo>
                      <a:pt x="149846" y="50729"/>
                      <a:pt x="139876" y="70209"/>
                      <a:pt x="131455" y="89525"/>
                    </a:cubicBezTo>
                    <a:cubicBezTo>
                      <a:pt x="130873" y="90906"/>
                      <a:pt x="130308" y="93239"/>
                      <a:pt x="129187" y="93711"/>
                    </a:cubicBezTo>
                    <a:cubicBezTo>
                      <a:pt x="128356" y="94063"/>
                      <a:pt x="124685" y="93179"/>
                      <a:pt x="124017" y="93102"/>
                    </a:cubicBezTo>
                    <a:cubicBezTo>
                      <a:pt x="120106" y="92647"/>
                      <a:pt x="116238" y="92399"/>
                      <a:pt x="112301" y="92270"/>
                    </a:cubicBezTo>
                    <a:cubicBezTo>
                      <a:pt x="109913" y="92193"/>
                      <a:pt x="108570" y="94106"/>
                      <a:pt x="108493" y="96070"/>
                    </a:cubicBezTo>
                    <a:cubicBezTo>
                      <a:pt x="28250" y="132824"/>
                      <a:pt x="5057" y="273323"/>
                      <a:pt x="924" y="353076"/>
                    </a:cubicBezTo>
                    <a:cubicBezTo>
                      <a:pt x="393" y="363223"/>
                      <a:pt x="-1644" y="377316"/>
                      <a:pt x="2832" y="386820"/>
                    </a:cubicBezTo>
                    <a:cubicBezTo>
                      <a:pt x="2781" y="387180"/>
                      <a:pt x="2721" y="387540"/>
                      <a:pt x="2669" y="387909"/>
                    </a:cubicBezTo>
                    <a:cubicBezTo>
                      <a:pt x="2284" y="390834"/>
                      <a:pt x="6666" y="391615"/>
                      <a:pt x="7967" y="389350"/>
                    </a:cubicBezTo>
                    <a:cubicBezTo>
                      <a:pt x="14266" y="378414"/>
                      <a:pt x="19341" y="366817"/>
                      <a:pt x="26307" y="356258"/>
                    </a:cubicBezTo>
                    <a:cubicBezTo>
                      <a:pt x="21027" y="386039"/>
                      <a:pt x="31870" y="415374"/>
                      <a:pt x="37510" y="444477"/>
                    </a:cubicBezTo>
                    <a:cubicBezTo>
                      <a:pt x="35396" y="462576"/>
                      <a:pt x="42123" y="480494"/>
                      <a:pt x="54627" y="493558"/>
                    </a:cubicBezTo>
                    <a:cubicBezTo>
                      <a:pt x="62038" y="513963"/>
                      <a:pt x="71127" y="533880"/>
                      <a:pt x="80687" y="553325"/>
                    </a:cubicBezTo>
                    <a:cubicBezTo>
                      <a:pt x="86592" y="565334"/>
                      <a:pt x="92788" y="577248"/>
                      <a:pt x="99780" y="588664"/>
                    </a:cubicBezTo>
                    <a:cubicBezTo>
                      <a:pt x="105087" y="597336"/>
                      <a:pt x="111043" y="605485"/>
                      <a:pt x="119533" y="611275"/>
                    </a:cubicBezTo>
                    <a:cubicBezTo>
                      <a:pt x="121655" y="612724"/>
                      <a:pt x="124146" y="610846"/>
                      <a:pt x="124385" y="608676"/>
                    </a:cubicBezTo>
                    <a:cubicBezTo>
                      <a:pt x="127663" y="606840"/>
                      <a:pt x="128151" y="602620"/>
                      <a:pt x="128827" y="598563"/>
                    </a:cubicBezTo>
                    <a:cubicBezTo>
                      <a:pt x="129418" y="595055"/>
                      <a:pt x="130188" y="591280"/>
                      <a:pt x="130547" y="587524"/>
                    </a:cubicBezTo>
                    <a:cubicBezTo>
                      <a:pt x="133123" y="594188"/>
                      <a:pt x="136110" y="600647"/>
                      <a:pt x="139611" y="606891"/>
                    </a:cubicBezTo>
                    <a:cubicBezTo>
                      <a:pt x="143051" y="613041"/>
                      <a:pt x="147441" y="622983"/>
                      <a:pt x="154160" y="625993"/>
                    </a:cubicBezTo>
                    <a:cubicBezTo>
                      <a:pt x="155426" y="626560"/>
                      <a:pt x="156787" y="626131"/>
                      <a:pt x="157429" y="625144"/>
                    </a:cubicBezTo>
                    <a:cubicBezTo>
                      <a:pt x="159252" y="625101"/>
                      <a:pt x="161169" y="623909"/>
                      <a:pt x="161434" y="621602"/>
                    </a:cubicBezTo>
                    <a:cubicBezTo>
                      <a:pt x="162975" y="607363"/>
                      <a:pt x="166364" y="593485"/>
                      <a:pt x="171182" y="580010"/>
                    </a:cubicBezTo>
                    <a:cubicBezTo>
                      <a:pt x="177139" y="586666"/>
                      <a:pt x="183352" y="593090"/>
                      <a:pt x="189848" y="599215"/>
                    </a:cubicBezTo>
                    <a:cubicBezTo>
                      <a:pt x="199151" y="607989"/>
                      <a:pt x="208993" y="618866"/>
                      <a:pt x="221856" y="621181"/>
                    </a:cubicBezTo>
                    <a:cubicBezTo>
                      <a:pt x="225878" y="621911"/>
                      <a:pt x="229036" y="618119"/>
                      <a:pt x="227102" y="614337"/>
                    </a:cubicBezTo>
                    <a:cubicBezTo>
                      <a:pt x="221419" y="603229"/>
                      <a:pt x="210045" y="596478"/>
                      <a:pt x="201016" y="588012"/>
                    </a:cubicBezTo>
                    <a:cubicBezTo>
                      <a:pt x="176831" y="565471"/>
                      <a:pt x="156710" y="539001"/>
                      <a:pt x="139208" y="511021"/>
                    </a:cubicBezTo>
                    <a:cubicBezTo>
                      <a:pt x="139029" y="510635"/>
                      <a:pt x="138798" y="510275"/>
                      <a:pt x="138532" y="509949"/>
                    </a:cubicBezTo>
                    <a:cubicBezTo>
                      <a:pt x="136042" y="506003"/>
                      <a:pt x="133303" y="501861"/>
                      <a:pt x="129572" y="499613"/>
                    </a:cubicBezTo>
                    <a:cubicBezTo>
                      <a:pt x="126653" y="497855"/>
                      <a:pt x="123290" y="500154"/>
                      <a:pt x="123119" y="503327"/>
                    </a:cubicBezTo>
                    <a:cubicBezTo>
                      <a:pt x="123042" y="504785"/>
                      <a:pt x="123213" y="506269"/>
                      <a:pt x="123555" y="507745"/>
                    </a:cubicBezTo>
                    <a:cubicBezTo>
                      <a:pt x="100516" y="508457"/>
                      <a:pt x="77871" y="495668"/>
                      <a:pt x="63313" y="478264"/>
                    </a:cubicBezTo>
                    <a:cubicBezTo>
                      <a:pt x="47498" y="458664"/>
                      <a:pt x="50365" y="425633"/>
                      <a:pt x="73524" y="412801"/>
                    </a:cubicBezTo>
                    <a:cubicBezTo>
                      <a:pt x="79634" y="409413"/>
                      <a:pt x="86455" y="407371"/>
                      <a:pt x="93413" y="406771"/>
                    </a:cubicBezTo>
                    <a:cubicBezTo>
                      <a:pt x="97324" y="406436"/>
                      <a:pt x="101287" y="406428"/>
                      <a:pt x="105189" y="406900"/>
                    </a:cubicBezTo>
                    <a:cubicBezTo>
                      <a:pt x="109640" y="407440"/>
                      <a:pt x="114364" y="406985"/>
                      <a:pt x="118728" y="407732"/>
                    </a:cubicBezTo>
                    <a:cubicBezTo>
                      <a:pt x="125832" y="428034"/>
                      <a:pt x="135092" y="450181"/>
                      <a:pt x="154639" y="461229"/>
                    </a:cubicBezTo>
                    <a:cubicBezTo>
                      <a:pt x="157908" y="463022"/>
                      <a:pt x="163223" y="462336"/>
                      <a:pt x="164918" y="458527"/>
                    </a:cubicBezTo>
                    <a:cubicBezTo>
                      <a:pt x="169188" y="448963"/>
                      <a:pt x="169000" y="438405"/>
                      <a:pt x="166809" y="428266"/>
                    </a:cubicBezTo>
                    <a:cubicBezTo>
                      <a:pt x="171020" y="433018"/>
                      <a:pt x="175769" y="437401"/>
                      <a:pt x="181332" y="441261"/>
                    </a:cubicBezTo>
                    <a:cubicBezTo>
                      <a:pt x="184670" y="443577"/>
                      <a:pt x="190464" y="440549"/>
                      <a:pt x="189951" y="436303"/>
                    </a:cubicBezTo>
                    <a:cubicBezTo>
                      <a:pt x="186844" y="410665"/>
                      <a:pt x="188136" y="384307"/>
                      <a:pt x="200862" y="361285"/>
                    </a:cubicBezTo>
                    <a:cubicBezTo>
                      <a:pt x="215951" y="335415"/>
                      <a:pt x="228566" y="321159"/>
                      <a:pt x="228138" y="289140"/>
                    </a:cubicBezTo>
                    <a:cubicBezTo>
                      <a:pt x="235438" y="298146"/>
                      <a:pt x="243226" y="306784"/>
                      <a:pt x="250920" y="315438"/>
                    </a:cubicBezTo>
                    <a:cubicBezTo>
                      <a:pt x="255036" y="320070"/>
                      <a:pt x="261626" y="315061"/>
                      <a:pt x="260574" y="309803"/>
                    </a:cubicBezTo>
                    <a:cubicBezTo>
                      <a:pt x="255302" y="284448"/>
                      <a:pt x="247223" y="259616"/>
                      <a:pt x="247779" y="233395"/>
                    </a:cubicBezTo>
                    <a:cubicBezTo>
                      <a:pt x="273043" y="260534"/>
                      <a:pt x="271768" y="303147"/>
                      <a:pt x="278914" y="337817"/>
                    </a:cubicBezTo>
                    <a:cubicBezTo>
                      <a:pt x="279736" y="342423"/>
                      <a:pt x="287507" y="343701"/>
                      <a:pt x="289406" y="339189"/>
                    </a:cubicBezTo>
                    <a:cubicBezTo>
                      <a:pt x="301148" y="311338"/>
                      <a:pt x="307541" y="279910"/>
                      <a:pt x="307927" y="249186"/>
                    </a:cubicBezTo>
                    <a:cubicBezTo>
                      <a:pt x="314525" y="262052"/>
                      <a:pt x="320653" y="275184"/>
                      <a:pt x="325719" y="288642"/>
                    </a:cubicBezTo>
                    <a:cubicBezTo>
                      <a:pt x="328030" y="294784"/>
                      <a:pt x="337256" y="294132"/>
                      <a:pt x="337461" y="287047"/>
                    </a:cubicBezTo>
                    <a:cubicBezTo>
                      <a:pt x="337889" y="271976"/>
                      <a:pt x="338240" y="256871"/>
                      <a:pt x="338231" y="241766"/>
                    </a:cubicBezTo>
                    <a:cubicBezTo>
                      <a:pt x="377266" y="295873"/>
                      <a:pt x="445835" y="315052"/>
                      <a:pt x="508251" y="326211"/>
                    </a:cubicBezTo>
                    <a:cubicBezTo>
                      <a:pt x="510407" y="342491"/>
                      <a:pt x="515294" y="358300"/>
                      <a:pt x="519137" y="374228"/>
                    </a:cubicBezTo>
                    <a:cubicBezTo>
                      <a:pt x="526856" y="405905"/>
                      <a:pt x="530519" y="437444"/>
                      <a:pt x="528962" y="470090"/>
                    </a:cubicBezTo>
                    <a:cubicBezTo>
                      <a:pt x="526266" y="533957"/>
                      <a:pt x="504956" y="603469"/>
                      <a:pt x="447718" y="638499"/>
                    </a:cubicBezTo>
                    <a:cubicBezTo>
                      <a:pt x="418543" y="657953"/>
                      <a:pt x="388015" y="661341"/>
                      <a:pt x="353799" y="660183"/>
                    </a:cubicBezTo>
                    <a:cubicBezTo>
                      <a:pt x="341929" y="659840"/>
                      <a:pt x="330289" y="658013"/>
                      <a:pt x="318453" y="657387"/>
                    </a:cubicBezTo>
                    <a:cubicBezTo>
                      <a:pt x="313310" y="657112"/>
                      <a:pt x="313070" y="664215"/>
                      <a:pt x="317315" y="665827"/>
                    </a:cubicBezTo>
                    <a:cubicBezTo>
                      <a:pt x="337393" y="673470"/>
                      <a:pt x="360971" y="674447"/>
                      <a:pt x="382264" y="673710"/>
                    </a:cubicBezTo>
                    <a:cubicBezTo>
                      <a:pt x="436977" y="672629"/>
                      <a:pt x="487428" y="637539"/>
                      <a:pt x="513873" y="590517"/>
                    </a:cubicBezTo>
                    <a:cubicBezTo>
                      <a:pt x="530528" y="560342"/>
                      <a:pt x="539060" y="526238"/>
                      <a:pt x="542937" y="492177"/>
                    </a:cubicBezTo>
                    <a:cubicBezTo>
                      <a:pt x="546677" y="459325"/>
                      <a:pt x="545950" y="425495"/>
                      <a:pt x="539600" y="392995"/>
                    </a:cubicBezTo>
                    <a:cubicBezTo>
                      <a:pt x="535389" y="371269"/>
                      <a:pt x="528594" y="350151"/>
                      <a:pt x="524503" y="328399"/>
                    </a:cubicBezTo>
                    <a:cubicBezTo>
                      <a:pt x="541927" y="330243"/>
                      <a:pt x="559489" y="330337"/>
                      <a:pt x="576614" y="327155"/>
                    </a:cubicBezTo>
                    <a:cubicBezTo>
                      <a:pt x="580619" y="326409"/>
                      <a:pt x="579926" y="320868"/>
                      <a:pt x="576614" y="319796"/>
                    </a:cubicBezTo>
                    <a:cubicBezTo>
                      <a:pt x="572498" y="314357"/>
                      <a:pt x="565163" y="310772"/>
                      <a:pt x="559977" y="306689"/>
                    </a:cubicBezTo>
                    <a:cubicBezTo>
                      <a:pt x="550426" y="298987"/>
                      <a:pt x="541457" y="291147"/>
                      <a:pt x="534379" y="280820"/>
                    </a:cubicBezTo>
                    <a:cubicBezTo>
                      <a:pt x="552471" y="289980"/>
                      <a:pt x="569708" y="298069"/>
                      <a:pt x="589221" y="302984"/>
                    </a:cubicBezTo>
                    <a:cubicBezTo>
                      <a:pt x="595408" y="304605"/>
                      <a:pt x="603333" y="306989"/>
                      <a:pt x="609649" y="304699"/>
                    </a:cubicBezTo>
                    <a:cubicBezTo>
                      <a:pt x="611772" y="304605"/>
                      <a:pt x="613552" y="302589"/>
                      <a:pt x="612234" y="300350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EEC04D80-40BA-1328-67F4-BD5B707CEDB4}"/>
                </a:ext>
              </a:extLst>
            </p:cNvPr>
            <p:cNvSpPr/>
            <p:nvPr/>
          </p:nvSpPr>
          <p:spPr>
            <a:xfrm>
              <a:off x="4597700" y="3442230"/>
              <a:ext cx="63624" cy="22939"/>
            </a:xfrm>
            <a:custGeom>
              <a:avLst/>
              <a:gdLst>
                <a:gd name="connsiteX0" fmla="*/ 40146 w 63624"/>
                <a:gd name="connsiteY0" fmla="*/ 23765 h 22939"/>
                <a:gd name="connsiteX1" fmla="*/ 2832 w 63624"/>
                <a:gd name="connsiteY1" fmla="*/ 12623 h 22939"/>
                <a:gd name="connsiteX2" fmla="*/ 2148 w 63624"/>
                <a:gd name="connsiteY2" fmla="*/ 9981 h 22939"/>
                <a:gd name="connsiteX3" fmla="*/ 4116 w 63624"/>
                <a:gd name="connsiteY3" fmla="*/ 7983 h 22939"/>
                <a:gd name="connsiteX4" fmla="*/ 20206 w 63624"/>
                <a:gd name="connsiteY4" fmla="*/ 6027 h 22939"/>
                <a:gd name="connsiteX5" fmla="*/ 31331 w 63624"/>
                <a:gd name="connsiteY5" fmla="*/ 4938 h 22939"/>
                <a:gd name="connsiteX6" fmla="*/ 39975 w 63624"/>
                <a:gd name="connsiteY6" fmla="*/ 3050 h 22939"/>
                <a:gd name="connsiteX7" fmla="*/ 52727 w 63624"/>
                <a:gd name="connsiteY7" fmla="*/ 829 h 22939"/>
                <a:gd name="connsiteX8" fmla="*/ 60772 w 63624"/>
                <a:gd name="connsiteY8" fmla="*/ 2553 h 22939"/>
                <a:gd name="connsiteX9" fmla="*/ 65308 w 63624"/>
                <a:gd name="connsiteY9" fmla="*/ 8695 h 22939"/>
                <a:gd name="connsiteX10" fmla="*/ 57091 w 63624"/>
                <a:gd name="connsiteY10" fmla="*/ 21664 h 22939"/>
                <a:gd name="connsiteX11" fmla="*/ 47849 w 63624"/>
                <a:gd name="connsiteY11" fmla="*/ 23439 h 22939"/>
                <a:gd name="connsiteX12" fmla="*/ 40146 w 63624"/>
                <a:gd name="connsiteY12" fmla="*/ 23765 h 2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624" h="22939">
                  <a:moveTo>
                    <a:pt x="40146" y="23765"/>
                  </a:moveTo>
                  <a:cubicBezTo>
                    <a:pt x="27137" y="23533"/>
                    <a:pt x="13102" y="21261"/>
                    <a:pt x="2832" y="12623"/>
                  </a:cubicBezTo>
                  <a:cubicBezTo>
                    <a:pt x="2148" y="11954"/>
                    <a:pt x="1891" y="10925"/>
                    <a:pt x="2148" y="9981"/>
                  </a:cubicBezTo>
                  <a:cubicBezTo>
                    <a:pt x="2404" y="9003"/>
                    <a:pt x="3089" y="8223"/>
                    <a:pt x="4116" y="7983"/>
                  </a:cubicBezTo>
                  <a:cubicBezTo>
                    <a:pt x="9422" y="6979"/>
                    <a:pt x="14814" y="6327"/>
                    <a:pt x="20206" y="6027"/>
                  </a:cubicBezTo>
                  <a:cubicBezTo>
                    <a:pt x="23885" y="5744"/>
                    <a:pt x="27651" y="5452"/>
                    <a:pt x="31331" y="4938"/>
                  </a:cubicBezTo>
                  <a:cubicBezTo>
                    <a:pt x="34241" y="4466"/>
                    <a:pt x="37151" y="3840"/>
                    <a:pt x="39975" y="3050"/>
                  </a:cubicBezTo>
                  <a:cubicBezTo>
                    <a:pt x="44083" y="1781"/>
                    <a:pt x="48447" y="1035"/>
                    <a:pt x="52727" y="829"/>
                  </a:cubicBezTo>
                  <a:cubicBezTo>
                    <a:pt x="55551" y="778"/>
                    <a:pt x="58290" y="1369"/>
                    <a:pt x="60772" y="2553"/>
                  </a:cubicBezTo>
                  <a:cubicBezTo>
                    <a:pt x="63083" y="3840"/>
                    <a:pt x="64708" y="6087"/>
                    <a:pt x="65308" y="8695"/>
                  </a:cubicBezTo>
                  <a:cubicBezTo>
                    <a:pt x="67105" y="14459"/>
                    <a:pt x="61970" y="19519"/>
                    <a:pt x="57091" y="21664"/>
                  </a:cubicBezTo>
                  <a:cubicBezTo>
                    <a:pt x="54096" y="22736"/>
                    <a:pt x="51015" y="23328"/>
                    <a:pt x="47849" y="23439"/>
                  </a:cubicBezTo>
                  <a:cubicBezTo>
                    <a:pt x="45195" y="23654"/>
                    <a:pt x="42628" y="23765"/>
                    <a:pt x="40146" y="23765"/>
                  </a:cubicBez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DE560715-D47E-285E-E367-0CB65A0C6A12}"/>
                </a:ext>
              </a:extLst>
            </p:cNvPr>
            <p:cNvSpPr/>
            <p:nvPr/>
          </p:nvSpPr>
          <p:spPr>
            <a:xfrm>
              <a:off x="4609127" y="3302197"/>
              <a:ext cx="67949" cy="60923"/>
            </a:xfrm>
            <a:custGeom>
              <a:avLst/>
              <a:gdLst>
                <a:gd name="connsiteX0" fmla="*/ 39588 w 67949"/>
                <a:gd name="connsiteY0" fmla="*/ 61727 h 60923"/>
                <a:gd name="connsiteX1" fmla="*/ 5698 w 67949"/>
                <a:gd name="connsiteY1" fmla="*/ 34356 h 60923"/>
                <a:gd name="connsiteX2" fmla="*/ 10661 w 67949"/>
                <a:gd name="connsiteY2" fmla="*/ 32426 h 60923"/>
                <a:gd name="connsiteX3" fmla="*/ 14512 w 67949"/>
                <a:gd name="connsiteY3" fmla="*/ 33601 h 60923"/>
                <a:gd name="connsiteX4" fmla="*/ 53110 w 67949"/>
                <a:gd name="connsiteY4" fmla="*/ 42187 h 60923"/>
                <a:gd name="connsiteX5" fmla="*/ 39074 w 67949"/>
                <a:gd name="connsiteY5" fmla="*/ 7869 h 60923"/>
                <a:gd name="connsiteX6" fmla="*/ 38219 w 67949"/>
                <a:gd name="connsiteY6" fmla="*/ 4155 h 60923"/>
                <a:gd name="connsiteX7" fmla="*/ 42926 w 67949"/>
                <a:gd name="connsiteY7" fmla="*/ 827 h 60923"/>
                <a:gd name="connsiteX8" fmla="*/ 69800 w 67949"/>
                <a:gd name="connsiteY8" fmla="*/ 33207 h 60923"/>
                <a:gd name="connsiteX9" fmla="*/ 39588 w 67949"/>
                <a:gd name="connsiteY9" fmla="*/ 61727 h 60923"/>
                <a:gd name="connsiteX10" fmla="*/ 39588 w 67949"/>
                <a:gd name="connsiteY10" fmla="*/ 61727 h 6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49" h="60923">
                  <a:moveTo>
                    <a:pt x="39588" y="61727"/>
                  </a:moveTo>
                  <a:cubicBezTo>
                    <a:pt x="28805" y="62113"/>
                    <a:pt x="-9879" y="48835"/>
                    <a:pt x="5698" y="34356"/>
                  </a:cubicBezTo>
                  <a:cubicBezTo>
                    <a:pt x="7067" y="33147"/>
                    <a:pt x="8865" y="32469"/>
                    <a:pt x="10661" y="32426"/>
                  </a:cubicBezTo>
                  <a:cubicBezTo>
                    <a:pt x="12031" y="32435"/>
                    <a:pt x="13315" y="32846"/>
                    <a:pt x="14512" y="33601"/>
                  </a:cubicBezTo>
                  <a:cubicBezTo>
                    <a:pt x="24013" y="41269"/>
                    <a:pt x="41728" y="54650"/>
                    <a:pt x="53110" y="42187"/>
                  </a:cubicBezTo>
                  <a:cubicBezTo>
                    <a:pt x="64322" y="28626"/>
                    <a:pt x="46863" y="11737"/>
                    <a:pt x="39074" y="7869"/>
                  </a:cubicBezTo>
                  <a:cubicBezTo>
                    <a:pt x="38048" y="6951"/>
                    <a:pt x="37706" y="5450"/>
                    <a:pt x="38219" y="4155"/>
                  </a:cubicBezTo>
                  <a:cubicBezTo>
                    <a:pt x="38904" y="2131"/>
                    <a:pt x="40787" y="784"/>
                    <a:pt x="42926" y="827"/>
                  </a:cubicBezTo>
                  <a:cubicBezTo>
                    <a:pt x="58930" y="2054"/>
                    <a:pt x="71768" y="17073"/>
                    <a:pt x="69800" y="33207"/>
                  </a:cubicBezTo>
                  <a:cubicBezTo>
                    <a:pt x="68858" y="48715"/>
                    <a:pt x="55421" y="62387"/>
                    <a:pt x="39588" y="61727"/>
                  </a:cubicBezTo>
                  <a:lnTo>
                    <a:pt x="39588" y="6172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8702D0C8-2E3F-5434-A6F3-93877DDE4D29}"/>
                </a:ext>
              </a:extLst>
            </p:cNvPr>
            <p:cNvSpPr/>
            <p:nvPr/>
          </p:nvSpPr>
          <p:spPr>
            <a:xfrm>
              <a:off x="4679614" y="3243416"/>
              <a:ext cx="32350" cy="54176"/>
            </a:xfrm>
            <a:custGeom>
              <a:avLst/>
              <a:gdLst>
                <a:gd name="connsiteX0" fmla="*/ 18225 w 32350"/>
                <a:gd name="connsiteY0" fmla="*/ 55002 h 54176"/>
                <a:gd name="connsiteX1" fmla="*/ 2050 w 32350"/>
                <a:gd name="connsiteY1" fmla="*/ 27778 h 54176"/>
                <a:gd name="connsiteX2" fmla="*/ 34401 w 32350"/>
                <a:gd name="connsiteY2" fmla="*/ 27778 h 54176"/>
                <a:gd name="connsiteX3" fmla="*/ 18225 w 32350"/>
                <a:gd name="connsiteY3" fmla="*/ 55002 h 54176"/>
                <a:gd name="connsiteX4" fmla="*/ 18225 w 32350"/>
                <a:gd name="connsiteY4" fmla="*/ 55002 h 5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50" h="54176">
                  <a:moveTo>
                    <a:pt x="18225" y="55002"/>
                  </a:moveTo>
                  <a:cubicBezTo>
                    <a:pt x="5816" y="53887"/>
                    <a:pt x="2136" y="38190"/>
                    <a:pt x="2050" y="27778"/>
                  </a:cubicBezTo>
                  <a:cubicBezTo>
                    <a:pt x="2478" y="-8197"/>
                    <a:pt x="33972" y="-8119"/>
                    <a:pt x="34401" y="27778"/>
                  </a:cubicBezTo>
                  <a:cubicBezTo>
                    <a:pt x="34315" y="38182"/>
                    <a:pt x="30550" y="53904"/>
                    <a:pt x="18225" y="55002"/>
                  </a:cubicBezTo>
                  <a:lnTo>
                    <a:pt x="18225" y="55002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DE538D54-A6DE-4599-E622-53891758E0B5}"/>
                </a:ext>
              </a:extLst>
            </p:cNvPr>
            <p:cNvSpPr/>
            <p:nvPr/>
          </p:nvSpPr>
          <p:spPr>
            <a:xfrm>
              <a:off x="4491075" y="3250107"/>
              <a:ext cx="114172" cy="47313"/>
            </a:xfrm>
            <a:custGeom>
              <a:avLst/>
              <a:gdLst>
                <a:gd name="connsiteX0" fmla="*/ 61958 w 114172"/>
                <a:gd name="connsiteY0" fmla="*/ 48140 h 47313"/>
                <a:gd name="connsiteX1" fmla="*/ 51603 w 114172"/>
                <a:gd name="connsiteY1" fmla="*/ 40291 h 47313"/>
                <a:gd name="connsiteX2" fmla="*/ 52458 w 114172"/>
                <a:gd name="connsiteY2" fmla="*/ 19662 h 47313"/>
                <a:gd name="connsiteX3" fmla="*/ 52801 w 114172"/>
                <a:gd name="connsiteY3" fmla="*/ 19208 h 47313"/>
                <a:gd name="connsiteX4" fmla="*/ 52715 w 114172"/>
                <a:gd name="connsiteY4" fmla="*/ 18084 h 47313"/>
                <a:gd name="connsiteX5" fmla="*/ 25244 w 114172"/>
                <a:gd name="connsiteY5" fmla="*/ 15340 h 47313"/>
                <a:gd name="connsiteX6" fmla="*/ 2136 w 114172"/>
                <a:gd name="connsiteY6" fmla="*/ 9524 h 47313"/>
                <a:gd name="connsiteX7" fmla="*/ 2050 w 114172"/>
                <a:gd name="connsiteY7" fmla="*/ 9250 h 47313"/>
                <a:gd name="connsiteX8" fmla="*/ 2221 w 114172"/>
                <a:gd name="connsiteY8" fmla="*/ 8958 h 47313"/>
                <a:gd name="connsiteX9" fmla="*/ 23960 w 114172"/>
                <a:gd name="connsiteY9" fmla="*/ 6693 h 47313"/>
                <a:gd name="connsiteX10" fmla="*/ 62044 w 114172"/>
                <a:gd name="connsiteY10" fmla="*/ 5004 h 47313"/>
                <a:gd name="connsiteX11" fmla="*/ 71972 w 114172"/>
                <a:gd name="connsiteY11" fmla="*/ 4317 h 47313"/>
                <a:gd name="connsiteX12" fmla="*/ 90201 w 114172"/>
                <a:gd name="connsiteY12" fmla="*/ 2739 h 47313"/>
                <a:gd name="connsiteX13" fmla="*/ 106205 w 114172"/>
                <a:gd name="connsiteY13" fmla="*/ 827 h 47313"/>
                <a:gd name="connsiteX14" fmla="*/ 114079 w 114172"/>
                <a:gd name="connsiteY14" fmla="*/ 14396 h 47313"/>
                <a:gd name="connsiteX15" fmla="*/ 100470 w 114172"/>
                <a:gd name="connsiteY15" fmla="*/ 18445 h 47313"/>
                <a:gd name="connsiteX16" fmla="*/ 82327 w 114172"/>
                <a:gd name="connsiteY16" fmla="*/ 18873 h 47313"/>
                <a:gd name="connsiteX17" fmla="*/ 66751 w 114172"/>
                <a:gd name="connsiteY17" fmla="*/ 46459 h 47313"/>
                <a:gd name="connsiteX18" fmla="*/ 61958 w 114172"/>
                <a:gd name="connsiteY18" fmla="*/ 48140 h 47313"/>
                <a:gd name="connsiteX19" fmla="*/ 61958 w 114172"/>
                <a:gd name="connsiteY19" fmla="*/ 48140 h 4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172" h="47313">
                  <a:moveTo>
                    <a:pt x="61958" y="48140"/>
                  </a:moveTo>
                  <a:cubicBezTo>
                    <a:pt x="57337" y="48140"/>
                    <a:pt x="53058" y="44151"/>
                    <a:pt x="51603" y="40291"/>
                  </a:cubicBezTo>
                  <a:cubicBezTo>
                    <a:pt x="49463" y="33695"/>
                    <a:pt x="48950" y="25873"/>
                    <a:pt x="52458" y="19662"/>
                  </a:cubicBezTo>
                  <a:lnTo>
                    <a:pt x="52801" y="19208"/>
                  </a:lnTo>
                  <a:cubicBezTo>
                    <a:pt x="52715" y="18899"/>
                    <a:pt x="52715" y="18385"/>
                    <a:pt x="52715" y="18084"/>
                  </a:cubicBezTo>
                  <a:cubicBezTo>
                    <a:pt x="44329" y="17578"/>
                    <a:pt x="34658" y="16609"/>
                    <a:pt x="25244" y="15340"/>
                  </a:cubicBezTo>
                  <a:cubicBezTo>
                    <a:pt x="17712" y="14362"/>
                    <a:pt x="7956" y="14096"/>
                    <a:pt x="2136" y="9524"/>
                  </a:cubicBezTo>
                  <a:cubicBezTo>
                    <a:pt x="2050" y="9455"/>
                    <a:pt x="2050" y="9352"/>
                    <a:pt x="2050" y="9250"/>
                  </a:cubicBezTo>
                  <a:cubicBezTo>
                    <a:pt x="2050" y="9130"/>
                    <a:pt x="2136" y="9018"/>
                    <a:pt x="2221" y="8958"/>
                  </a:cubicBezTo>
                  <a:cubicBezTo>
                    <a:pt x="8983" y="6067"/>
                    <a:pt x="16771" y="7448"/>
                    <a:pt x="23960" y="6693"/>
                  </a:cubicBezTo>
                  <a:cubicBezTo>
                    <a:pt x="37140" y="6316"/>
                    <a:pt x="49977" y="5732"/>
                    <a:pt x="62044" y="5004"/>
                  </a:cubicBezTo>
                  <a:cubicBezTo>
                    <a:pt x="65125" y="3700"/>
                    <a:pt x="68719" y="3262"/>
                    <a:pt x="71972" y="4317"/>
                  </a:cubicBezTo>
                  <a:cubicBezTo>
                    <a:pt x="77877" y="3880"/>
                    <a:pt x="84210" y="3237"/>
                    <a:pt x="90201" y="2739"/>
                  </a:cubicBezTo>
                  <a:cubicBezTo>
                    <a:pt x="95593" y="2602"/>
                    <a:pt x="100813" y="1221"/>
                    <a:pt x="106205" y="827"/>
                  </a:cubicBezTo>
                  <a:cubicBezTo>
                    <a:pt x="112966" y="758"/>
                    <a:pt x="119812" y="7697"/>
                    <a:pt x="114079" y="14396"/>
                  </a:cubicBezTo>
                  <a:cubicBezTo>
                    <a:pt x="110056" y="19148"/>
                    <a:pt x="105606" y="18264"/>
                    <a:pt x="100470" y="18445"/>
                  </a:cubicBezTo>
                  <a:cubicBezTo>
                    <a:pt x="94394" y="18685"/>
                    <a:pt x="88318" y="18873"/>
                    <a:pt x="82327" y="18873"/>
                  </a:cubicBezTo>
                  <a:cubicBezTo>
                    <a:pt x="82669" y="30136"/>
                    <a:pt x="75481" y="40017"/>
                    <a:pt x="66751" y="46459"/>
                  </a:cubicBezTo>
                  <a:cubicBezTo>
                    <a:pt x="65382" y="47539"/>
                    <a:pt x="63670" y="48131"/>
                    <a:pt x="61958" y="48140"/>
                  </a:cubicBezTo>
                  <a:lnTo>
                    <a:pt x="61958" y="48140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D753E113-A95B-AAF3-E4F1-DA03620C6EDF}"/>
                </a:ext>
              </a:extLst>
            </p:cNvPr>
            <p:cNvSpPr/>
            <p:nvPr/>
          </p:nvSpPr>
          <p:spPr>
            <a:xfrm>
              <a:off x="4631024" y="3158353"/>
              <a:ext cx="77979" cy="54931"/>
            </a:xfrm>
            <a:custGeom>
              <a:avLst/>
              <a:gdLst>
                <a:gd name="connsiteX0" fmla="*/ 11187 w 77979"/>
                <a:gd name="connsiteY0" fmla="*/ 55757 h 54931"/>
                <a:gd name="connsiteX1" fmla="*/ 2715 w 77979"/>
                <a:gd name="connsiteY1" fmla="*/ 45172 h 54931"/>
                <a:gd name="connsiteX2" fmla="*/ 2800 w 77979"/>
                <a:gd name="connsiteY2" fmla="*/ 30693 h 54931"/>
                <a:gd name="connsiteX3" fmla="*/ 22826 w 77979"/>
                <a:gd name="connsiteY3" fmla="*/ 4841 h 54931"/>
                <a:gd name="connsiteX4" fmla="*/ 79911 w 77979"/>
                <a:gd name="connsiteY4" fmla="*/ 32735 h 54931"/>
                <a:gd name="connsiteX5" fmla="*/ 75888 w 77979"/>
                <a:gd name="connsiteY5" fmla="*/ 38971 h 54931"/>
                <a:gd name="connsiteX6" fmla="*/ 69041 w 77979"/>
                <a:gd name="connsiteY6" fmla="*/ 40969 h 54931"/>
                <a:gd name="connsiteX7" fmla="*/ 57231 w 77979"/>
                <a:gd name="connsiteY7" fmla="*/ 31337 h 54931"/>
                <a:gd name="connsiteX8" fmla="*/ 28561 w 77979"/>
                <a:gd name="connsiteY8" fmla="*/ 26345 h 54931"/>
                <a:gd name="connsiteX9" fmla="*/ 17263 w 77979"/>
                <a:gd name="connsiteY9" fmla="*/ 40798 h 54931"/>
                <a:gd name="connsiteX10" fmla="*/ 15295 w 77979"/>
                <a:gd name="connsiteY10" fmla="*/ 46545 h 54931"/>
                <a:gd name="connsiteX11" fmla="*/ 11530 w 77979"/>
                <a:gd name="connsiteY11" fmla="*/ 55620 h 54931"/>
                <a:gd name="connsiteX12" fmla="*/ 11187 w 77979"/>
                <a:gd name="connsiteY12" fmla="*/ 55757 h 54931"/>
                <a:gd name="connsiteX13" fmla="*/ 11187 w 77979"/>
                <a:gd name="connsiteY13" fmla="*/ 55757 h 5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979" h="54931">
                  <a:moveTo>
                    <a:pt x="11187" y="55757"/>
                  </a:moveTo>
                  <a:cubicBezTo>
                    <a:pt x="5795" y="54642"/>
                    <a:pt x="3570" y="49324"/>
                    <a:pt x="2715" y="45172"/>
                  </a:cubicBezTo>
                  <a:cubicBezTo>
                    <a:pt x="1773" y="40386"/>
                    <a:pt x="1859" y="35463"/>
                    <a:pt x="2800" y="30693"/>
                  </a:cubicBezTo>
                  <a:cubicBezTo>
                    <a:pt x="5282" y="19697"/>
                    <a:pt x="12728" y="9893"/>
                    <a:pt x="22826" y="4841"/>
                  </a:cubicBezTo>
                  <a:cubicBezTo>
                    <a:pt x="42938" y="-6104"/>
                    <a:pt x="82477" y="6025"/>
                    <a:pt x="79911" y="32735"/>
                  </a:cubicBezTo>
                  <a:cubicBezTo>
                    <a:pt x="79397" y="35265"/>
                    <a:pt x="77942" y="37496"/>
                    <a:pt x="75888" y="38971"/>
                  </a:cubicBezTo>
                  <a:cubicBezTo>
                    <a:pt x="73833" y="40317"/>
                    <a:pt x="71524" y="41012"/>
                    <a:pt x="69041" y="40969"/>
                  </a:cubicBezTo>
                  <a:cubicBezTo>
                    <a:pt x="63478" y="41090"/>
                    <a:pt x="57574" y="37238"/>
                    <a:pt x="57231" y="31337"/>
                  </a:cubicBezTo>
                  <a:cubicBezTo>
                    <a:pt x="51582" y="23180"/>
                    <a:pt x="37376" y="20709"/>
                    <a:pt x="28561" y="26345"/>
                  </a:cubicBezTo>
                  <a:cubicBezTo>
                    <a:pt x="24025" y="29201"/>
                    <a:pt x="20174" y="34064"/>
                    <a:pt x="17263" y="40798"/>
                  </a:cubicBezTo>
                  <a:cubicBezTo>
                    <a:pt x="16493" y="42668"/>
                    <a:pt x="15809" y="44580"/>
                    <a:pt x="15295" y="46545"/>
                  </a:cubicBezTo>
                  <a:cubicBezTo>
                    <a:pt x="14439" y="49736"/>
                    <a:pt x="13498" y="53038"/>
                    <a:pt x="11530" y="55620"/>
                  </a:cubicBezTo>
                  <a:cubicBezTo>
                    <a:pt x="11444" y="55714"/>
                    <a:pt x="11273" y="55766"/>
                    <a:pt x="11187" y="55757"/>
                  </a:cubicBezTo>
                  <a:lnTo>
                    <a:pt x="11187" y="5575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4" name="Rounded Rectangle 4">
              <a:extLst>
                <a:ext uri="{FF2B5EF4-FFF2-40B4-BE49-F238E27FC236}">
                  <a16:creationId xmlns:a16="http://schemas.microsoft.com/office/drawing/2014/main" id="{A2D5F4EE-DAB1-AAC1-86BF-B6E206233D23}"/>
                </a:ext>
              </a:extLst>
            </p:cNvPr>
            <p:cNvSpPr/>
            <p:nvPr/>
          </p:nvSpPr>
          <p:spPr>
            <a:xfrm>
              <a:off x="542784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C211DCB8-2054-1C6E-DCEF-35B0FFD3C279}"/>
                </a:ext>
              </a:extLst>
            </p:cNvPr>
            <p:cNvSpPr txBox="1"/>
            <p:nvPr/>
          </p:nvSpPr>
          <p:spPr>
            <a:xfrm>
              <a:off x="5643903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F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428C94F4-E0CF-B135-A2FC-40DC6B42E65B}"/>
                </a:ext>
              </a:extLst>
            </p:cNvPr>
            <p:cNvSpPr txBox="1"/>
            <p:nvPr/>
          </p:nvSpPr>
          <p:spPr>
            <a:xfrm>
              <a:off x="5511510" y="4671889"/>
              <a:ext cx="119936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Princess Leia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8D486802-4B2C-246D-8EDB-4679E76DE743}"/>
                </a:ext>
              </a:extLst>
            </p:cNvPr>
            <p:cNvSpPr/>
            <p:nvPr/>
          </p:nvSpPr>
          <p:spPr>
            <a:xfrm>
              <a:off x="5560132" y="3364558"/>
              <a:ext cx="1557220" cy="1071945"/>
            </a:xfrm>
            <a:custGeom>
              <a:avLst/>
              <a:gdLst>
                <a:gd name="connsiteX0" fmla="*/ 414401 w 1557220"/>
                <a:gd name="connsiteY0" fmla="*/ 11183 h 1071945"/>
                <a:gd name="connsiteX1" fmla="*/ 424236 w 1557220"/>
                <a:gd name="connsiteY1" fmla="*/ 91224 h 1071945"/>
                <a:gd name="connsiteX2" fmla="*/ 377420 w 1557220"/>
                <a:gd name="connsiteY2" fmla="*/ 134882 h 1071945"/>
                <a:gd name="connsiteX3" fmla="*/ 366961 w 1557220"/>
                <a:gd name="connsiteY3" fmla="*/ 129901 h 1071945"/>
                <a:gd name="connsiteX4" fmla="*/ 157790 w 1557220"/>
                <a:gd name="connsiteY4" fmla="*/ 207692 h 1071945"/>
                <a:gd name="connsiteX5" fmla="*/ 77512 w 1557220"/>
                <a:gd name="connsiteY5" fmla="*/ 282175 h 1071945"/>
                <a:gd name="connsiteX6" fmla="*/ 1208 w 1557220"/>
                <a:gd name="connsiteY6" fmla="*/ 673790 h 1071945"/>
                <a:gd name="connsiteX7" fmla="*/ 29868 w 1557220"/>
                <a:gd name="connsiteY7" fmla="*/ 931478 h 1071945"/>
                <a:gd name="connsiteX8" fmla="*/ 107615 w 1557220"/>
                <a:gd name="connsiteY8" fmla="*/ 980632 h 1071945"/>
                <a:gd name="connsiteX9" fmla="*/ 116711 w 1557220"/>
                <a:gd name="connsiteY9" fmla="*/ 992247 h 1071945"/>
                <a:gd name="connsiteX10" fmla="*/ 106929 w 1557220"/>
                <a:gd name="connsiteY10" fmla="*/ 1050481 h 1071945"/>
                <a:gd name="connsiteX11" fmla="*/ 118146 w 1557220"/>
                <a:gd name="connsiteY11" fmla="*/ 1064373 h 1071945"/>
                <a:gd name="connsiteX12" fmla="*/ 542430 w 1557220"/>
                <a:gd name="connsiteY12" fmla="*/ 1066827 h 1071945"/>
                <a:gd name="connsiteX13" fmla="*/ 911756 w 1557220"/>
                <a:gd name="connsiteY13" fmla="*/ 1011892 h 1071945"/>
                <a:gd name="connsiteX14" fmla="*/ 905680 w 1557220"/>
                <a:gd name="connsiteY14" fmla="*/ 899408 h 1071945"/>
                <a:gd name="connsiteX15" fmla="*/ 911827 w 1557220"/>
                <a:gd name="connsiteY15" fmla="*/ 893565 h 1071945"/>
                <a:gd name="connsiteX16" fmla="*/ 1142941 w 1557220"/>
                <a:gd name="connsiteY16" fmla="*/ 854460 h 1071945"/>
                <a:gd name="connsiteX17" fmla="*/ 1348593 w 1557220"/>
                <a:gd name="connsiteY17" fmla="*/ 813399 h 1071945"/>
                <a:gd name="connsiteX18" fmla="*/ 1373627 w 1557220"/>
                <a:gd name="connsiteY18" fmla="*/ 724340 h 1071945"/>
                <a:gd name="connsiteX19" fmla="*/ 1379685 w 1557220"/>
                <a:gd name="connsiteY19" fmla="*/ 715046 h 1071945"/>
                <a:gd name="connsiteX20" fmla="*/ 1428015 w 1557220"/>
                <a:gd name="connsiteY20" fmla="*/ 654820 h 1071945"/>
                <a:gd name="connsiteX21" fmla="*/ 1543813 w 1557220"/>
                <a:gd name="connsiteY21" fmla="*/ 306134 h 1071945"/>
                <a:gd name="connsiteX22" fmla="*/ 1552071 w 1557220"/>
                <a:gd name="connsiteY22" fmla="*/ 221104 h 1071945"/>
                <a:gd name="connsiteX23" fmla="*/ 1490805 w 1557220"/>
                <a:gd name="connsiteY23" fmla="*/ 207515 h 1071945"/>
                <a:gd name="connsiteX24" fmla="*/ 1239673 w 1557220"/>
                <a:gd name="connsiteY24" fmla="*/ 208840 h 1071945"/>
                <a:gd name="connsiteX25" fmla="*/ 1097844 w 1557220"/>
                <a:gd name="connsiteY25" fmla="*/ 254143 h 1071945"/>
                <a:gd name="connsiteX26" fmla="*/ 1007348 w 1557220"/>
                <a:gd name="connsiteY26" fmla="*/ 586794 h 1071945"/>
                <a:gd name="connsiteX27" fmla="*/ 997753 w 1557220"/>
                <a:gd name="connsiteY27" fmla="*/ 586243 h 1071945"/>
                <a:gd name="connsiteX28" fmla="*/ 967356 w 1557220"/>
                <a:gd name="connsiteY28" fmla="*/ 400254 h 1071945"/>
                <a:gd name="connsiteX29" fmla="*/ 865029 w 1557220"/>
                <a:gd name="connsiteY29" fmla="*/ 258385 h 1071945"/>
                <a:gd name="connsiteX30" fmla="*/ 718870 w 1557220"/>
                <a:gd name="connsiteY30" fmla="*/ 181083 h 1071945"/>
                <a:gd name="connsiteX31" fmla="*/ 661381 w 1557220"/>
                <a:gd name="connsiteY31" fmla="*/ 177303 h 1071945"/>
                <a:gd name="connsiteX32" fmla="*/ 647671 w 1557220"/>
                <a:gd name="connsiteY32" fmla="*/ 100535 h 1071945"/>
                <a:gd name="connsiteX33" fmla="*/ 643706 w 1557220"/>
                <a:gd name="connsiteY33" fmla="*/ 65744 h 1071945"/>
                <a:gd name="connsiteX34" fmla="*/ 421225 w 1557220"/>
                <a:gd name="connsiteY34" fmla="*/ 235 h 1071945"/>
                <a:gd name="connsiteX35" fmla="*/ 414401 w 1557220"/>
                <a:gd name="connsiteY35" fmla="*/ 11183 h 107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57220" h="1071945">
                  <a:moveTo>
                    <a:pt x="414401" y="11183"/>
                  </a:moveTo>
                  <a:cubicBezTo>
                    <a:pt x="414401" y="11183"/>
                    <a:pt x="437475" y="54600"/>
                    <a:pt x="424236" y="91224"/>
                  </a:cubicBezTo>
                  <a:cubicBezTo>
                    <a:pt x="411586" y="126228"/>
                    <a:pt x="394436" y="188491"/>
                    <a:pt x="377420" y="134882"/>
                  </a:cubicBezTo>
                  <a:cubicBezTo>
                    <a:pt x="376030" y="130515"/>
                    <a:pt x="371229" y="128229"/>
                    <a:pt x="366961" y="129901"/>
                  </a:cubicBezTo>
                  <a:cubicBezTo>
                    <a:pt x="344573" y="138661"/>
                    <a:pt x="275645" y="165288"/>
                    <a:pt x="157790" y="207692"/>
                  </a:cubicBezTo>
                  <a:cubicBezTo>
                    <a:pt x="116408" y="222580"/>
                    <a:pt x="89432" y="260573"/>
                    <a:pt x="77512" y="282175"/>
                  </a:cubicBezTo>
                  <a:cubicBezTo>
                    <a:pt x="44701" y="341637"/>
                    <a:pt x="6669" y="507011"/>
                    <a:pt x="1208" y="673790"/>
                  </a:cubicBezTo>
                  <a:cubicBezTo>
                    <a:pt x="-1785" y="765117"/>
                    <a:pt x="-1509" y="858018"/>
                    <a:pt x="29868" y="931478"/>
                  </a:cubicBezTo>
                  <a:cubicBezTo>
                    <a:pt x="29868" y="931478"/>
                    <a:pt x="54465" y="977217"/>
                    <a:pt x="107615" y="980632"/>
                  </a:cubicBezTo>
                  <a:cubicBezTo>
                    <a:pt x="113477" y="981005"/>
                    <a:pt x="117682" y="986457"/>
                    <a:pt x="116711" y="992247"/>
                  </a:cubicBezTo>
                  <a:lnTo>
                    <a:pt x="106929" y="1050481"/>
                  </a:lnTo>
                  <a:cubicBezTo>
                    <a:pt x="105905" y="1057489"/>
                    <a:pt x="111063" y="1063892"/>
                    <a:pt x="118146" y="1064373"/>
                  </a:cubicBezTo>
                  <a:cubicBezTo>
                    <a:pt x="167358" y="1067699"/>
                    <a:pt x="348172" y="1078113"/>
                    <a:pt x="542430" y="1066827"/>
                  </a:cubicBezTo>
                  <a:cubicBezTo>
                    <a:pt x="670887" y="1059366"/>
                    <a:pt x="806631" y="1053078"/>
                    <a:pt x="911756" y="1011892"/>
                  </a:cubicBezTo>
                  <a:lnTo>
                    <a:pt x="905680" y="899408"/>
                  </a:lnTo>
                  <a:cubicBezTo>
                    <a:pt x="905493" y="895984"/>
                    <a:pt x="908397" y="893369"/>
                    <a:pt x="911827" y="893565"/>
                  </a:cubicBezTo>
                  <a:cubicBezTo>
                    <a:pt x="964897" y="896553"/>
                    <a:pt x="1039170" y="902716"/>
                    <a:pt x="1142941" y="854460"/>
                  </a:cubicBezTo>
                  <a:cubicBezTo>
                    <a:pt x="1142941" y="854460"/>
                    <a:pt x="1314552" y="863523"/>
                    <a:pt x="1348593" y="813399"/>
                  </a:cubicBezTo>
                  <a:cubicBezTo>
                    <a:pt x="1382634" y="763276"/>
                    <a:pt x="1373627" y="724340"/>
                    <a:pt x="1373627" y="724340"/>
                  </a:cubicBezTo>
                  <a:cubicBezTo>
                    <a:pt x="1374651" y="720694"/>
                    <a:pt x="1376772" y="717465"/>
                    <a:pt x="1379685" y="715046"/>
                  </a:cubicBezTo>
                  <a:cubicBezTo>
                    <a:pt x="1389244" y="707140"/>
                    <a:pt x="1412220" y="686089"/>
                    <a:pt x="1428015" y="654820"/>
                  </a:cubicBezTo>
                  <a:cubicBezTo>
                    <a:pt x="1477941" y="555996"/>
                    <a:pt x="1543813" y="306134"/>
                    <a:pt x="1543813" y="306134"/>
                  </a:cubicBezTo>
                  <a:cubicBezTo>
                    <a:pt x="1543813" y="306134"/>
                    <a:pt x="1567332" y="252035"/>
                    <a:pt x="1552071" y="221104"/>
                  </a:cubicBezTo>
                  <a:cubicBezTo>
                    <a:pt x="1544294" y="205345"/>
                    <a:pt x="1524694" y="207034"/>
                    <a:pt x="1490805" y="207515"/>
                  </a:cubicBezTo>
                  <a:cubicBezTo>
                    <a:pt x="1430510" y="208368"/>
                    <a:pt x="1328744" y="206572"/>
                    <a:pt x="1239673" y="208840"/>
                  </a:cubicBezTo>
                  <a:cubicBezTo>
                    <a:pt x="1169748" y="210618"/>
                    <a:pt x="1117907" y="217431"/>
                    <a:pt x="1097844" y="254143"/>
                  </a:cubicBezTo>
                  <a:lnTo>
                    <a:pt x="1007348" y="586794"/>
                  </a:lnTo>
                  <a:cubicBezTo>
                    <a:pt x="1005914" y="591854"/>
                    <a:pt x="998600" y="591436"/>
                    <a:pt x="997753" y="586243"/>
                  </a:cubicBezTo>
                  <a:lnTo>
                    <a:pt x="967356" y="400254"/>
                  </a:lnTo>
                  <a:cubicBezTo>
                    <a:pt x="967356" y="400254"/>
                    <a:pt x="958242" y="304765"/>
                    <a:pt x="865029" y="258385"/>
                  </a:cubicBezTo>
                  <a:cubicBezTo>
                    <a:pt x="771816" y="212015"/>
                    <a:pt x="732866" y="192405"/>
                    <a:pt x="718870" y="181083"/>
                  </a:cubicBezTo>
                  <a:cubicBezTo>
                    <a:pt x="704874" y="169753"/>
                    <a:pt x="661381" y="177303"/>
                    <a:pt x="661381" y="177303"/>
                  </a:cubicBezTo>
                  <a:cubicBezTo>
                    <a:pt x="657996" y="173773"/>
                    <a:pt x="648223" y="105391"/>
                    <a:pt x="647671" y="100535"/>
                  </a:cubicBezTo>
                  <a:lnTo>
                    <a:pt x="643706" y="65744"/>
                  </a:lnTo>
                  <a:lnTo>
                    <a:pt x="421225" y="235"/>
                  </a:lnTo>
                  <a:cubicBezTo>
                    <a:pt x="415693" y="-1357"/>
                    <a:pt x="414775" y="5464"/>
                    <a:pt x="414401" y="1118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953512FC-AC19-DCAD-D07B-7C553B5CD276}"/>
                </a:ext>
              </a:extLst>
            </p:cNvPr>
            <p:cNvSpPr/>
            <p:nvPr/>
          </p:nvSpPr>
          <p:spPr>
            <a:xfrm>
              <a:off x="5566507" y="4097137"/>
              <a:ext cx="202010" cy="180602"/>
            </a:xfrm>
            <a:custGeom>
              <a:avLst/>
              <a:gdLst>
                <a:gd name="connsiteX0" fmla="*/ 202009 w 202010"/>
                <a:gd name="connsiteY0" fmla="*/ 9619 h 180602"/>
                <a:gd name="connsiteX1" fmla="*/ 2557 w 202010"/>
                <a:gd name="connsiteY1" fmla="*/ 29345 h 180602"/>
                <a:gd name="connsiteX2" fmla="*/ 9 w 202010"/>
                <a:gd name="connsiteY2" fmla="*/ 34779 h 180602"/>
                <a:gd name="connsiteX3" fmla="*/ 8598 w 202010"/>
                <a:gd name="connsiteY3" fmla="*/ 118422 h 180602"/>
                <a:gd name="connsiteX4" fmla="*/ 22050 w 202010"/>
                <a:gd name="connsiteY4" fmla="*/ 176416 h 180602"/>
                <a:gd name="connsiteX5" fmla="*/ 33721 w 202010"/>
                <a:gd name="connsiteY5" fmla="*/ 177252 h 180602"/>
                <a:gd name="connsiteX6" fmla="*/ 153188 w 202010"/>
                <a:gd name="connsiteY6" fmla="*/ 45896 h 180602"/>
                <a:gd name="connsiteX7" fmla="*/ 202009 w 202010"/>
                <a:gd name="connsiteY7" fmla="*/ 9619 h 180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010" h="180602">
                  <a:moveTo>
                    <a:pt x="202009" y="9619"/>
                  </a:moveTo>
                  <a:cubicBezTo>
                    <a:pt x="189857" y="-12134"/>
                    <a:pt x="20010" y="6729"/>
                    <a:pt x="2557" y="29345"/>
                  </a:cubicBezTo>
                  <a:cubicBezTo>
                    <a:pt x="856" y="30617"/>
                    <a:pt x="-106" y="32662"/>
                    <a:pt x="9" y="34779"/>
                  </a:cubicBezTo>
                  <a:cubicBezTo>
                    <a:pt x="1551" y="64012"/>
                    <a:pt x="4446" y="92151"/>
                    <a:pt x="8598" y="118422"/>
                  </a:cubicBezTo>
                  <a:cubicBezTo>
                    <a:pt x="11413" y="136271"/>
                    <a:pt x="15217" y="157118"/>
                    <a:pt x="22050" y="176416"/>
                  </a:cubicBezTo>
                  <a:cubicBezTo>
                    <a:pt x="23698" y="181530"/>
                    <a:pt x="31351" y="182135"/>
                    <a:pt x="33721" y="177252"/>
                  </a:cubicBezTo>
                  <a:cubicBezTo>
                    <a:pt x="65008" y="123420"/>
                    <a:pt x="106248" y="82661"/>
                    <a:pt x="153188" y="45896"/>
                  </a:cubicBezTo>
                  <a:cubicBezTo>
                    <a:pt x="162961" y="37225"/>
                    <a:pt x="202294" y="21430"/>
                    <a:pt x="202009" y="961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B2726469-CADA-A665-2921-4648077A0C00}"/>
                </a:ext>
              </a:extLst>
            </p:cNvPr>
            <p:cNvSpPr/>
            <p:nvPr/>
          </p:nvSpPr>
          <p:spPr>
            <a:xfrm>
              <a:off x="6016824" y="4185558"/>
              <a:ext cx="324545" cy="264361"/>
            </a:xfrm>
            <a:custGeom>
              <a:avLst/>
              <a:gdLst>
                <a:gd name="connsiteX0" fmla="*/ 321547 w 324545"/>
                <a:gd name="connsiteY0" fmla="*/ 210529 h 264361"/>
                <a:gd name="connsiteX1" fmla="*/ 315783 w 324545"/>
                <a:gd name="connsiteY1" fmla="*/ 155052 h 264361"/>
                <a:gd name="connsiteX2" fmla="*/ 318607 w 324545"/>
                <a:gd name="connsiteY2" fmla="*/ 35861 h 264361"/>
                <a:gd name="connsiteX3" fmla="*/ 319463 w 324545"/>
                <a:gd name="connsiteY3" fmla="*/ 7198 h 264361"/>
                <a:gd name="connsiteX4" fmla="*/ 312665 w 324545"/>
                <a:gd name="connsiteY4" fmla="*/ 30 h 264361"/>
                <a:gd name="connsiteX5" fmla="*/ 123521 w 324545"/>
                <a:gd name="connsiteY5" fmla="*/ 17656 h 264361"/>
                <a:gd name="connsiteX6" fmla="*/ 66246 w 324545"/>
                <a:gd name="connsiteY6" fmla="*/ 22068 h 264361"/>
                <a:gd name="connsiteX7" fmla="*/ 3358 w 324545"/>
                <a:gd name="connsiteY7" fmla="*/ 58211 h 264361"/>
                <a:gd name="connsiteX8" fmla="*/ 730 w 324545"/>
                <a:gd name="connsiteY8" fmla="*/ 66775 h 264361"/>
                <a:gd name="connsiteX9" fmla="*/ 11421 w 324545"/>
                <a:gd name="connsiteY9" fmla="*/ 228085 h 264361"/>
                <a:gd name="connsiteX10" fmla="*/ 18664 w 324545"/>
                <a:gd name="connsiteY10" fmla="*/ 264361 h 264361"/>
                <a:gd name="connsiteX11" fmla="*/ 313636 w 324545"/>
                <a:gd name="connsiteY11" fmla="*/ 236596 h 264361"/>
                <a:gd name="connsiteX12" fmla="*/ 324389 w 324545"/>
                <a:gd name="connsiteY12" fmla="*/ 225817 h 264361"/>
                <a:gd name="connsiteX13" fmla="*/ 321547 w 324545"/>
                <a:gd name="connsiteY13" fmla="*/ 210529 h 26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4545" h="264361">
                  <a:moveTo>
                    <a:pt x="321547" y="210529"/>
                  </a:moveTo>
                  <a:cubicBezTo>
                    <a:pt x="313779" y="193738"/>
                    <a:pt x="316059" y="173870"/>
                    <a:pt x="315783" y="155052"/>
                  </a:cubicBezTo>
                  <a:cubicBezTo>
                    <a:pt x="315952" y="115449"/>
                    <a:pt x="318803" y="75624"/>
                    <a:pt x="318607" y="35861"/>
                  </a:cubicBezTo>
                  <a:cubicBezTo>
                    <a:pt x="318447" y="26274"/>
                    <a:pt x="318278" y="16358"/>
                    <a:pt x="319463" y="7198"/>
                  </a:cubicBezTo>
                  <a:cubicBezTo>
                    <a:pt x="320051" y="3347"/>
                    <a:pt x="316567" y="-371"/>
                    <a:pt x="312665" y="30"/>
                  </a:cubicBezTo>
                  <a:cubicBezTo>
                    <a:pt x="254633" y="4405"/>
                    <a:pt x="185749" y="9243"/>
                    <a:pt x="123521" y="17656"/>
                  </a:cubicBezTo>
                  <a:cubicBezTo>
                    <a:pt x="104705" y="20316"/>
                    <a:pt x="85240" y="23064"/>
                    <a:pt x="66246" y="22068"/>
                  </a:cubicBezTo>
                  <a:cubicBezTo>
                    <a:pt x="47119" y="33656"/>
                    <a:pt x="27893" y="45538"/>
                    <a:pt x="3358" y="58211"/>
                  </a:cubicBezTo>
                  <a:cubicBezTo>
                    <a:pt x="276" y="59865"/>
                    <a:pt x="-891" y="63680"/>
                    <a:pt x="730" y="66775"/>
                  </a:cubicBezTo>
                  <a:cubicBezTo>
                    <a:pt x="21149" y="105773"/>
                    <a:pt x="15492" y="194841"/>
                    <a:pt x="11421" y="228085"/>
                  </a:cubicBezTo>
                  <a:cubicBezTo>
                    <a:pt x="9220" y="246041"/>
                    <a:pt x="4588" y="263605"/>
                    <a:pt x="18664" y="264361"/>
                  </a:cubicBezTo>
                  <a:cubicBezTo>
                    <a:pt x="117802" y="259781"/>
                    <a:pt x="216342" y="257531"/>
                    <a:pt x="313636" y="236596"/>
                  </a:cubicBezTo>
                  <a:cubicBezTo>
                    <a:pt x="318251" y="235457"/>
                    <a:pt x="325449" y="229783"/>
                    <a:pt x="324389" y="225817"/>
                  </a:cubicBezTo>
                  <a:cubicBezTo>
                    <a:pt x="325360" y="220988"/>
                    <a:pt x="321476" y="215749"/>
                    <a:pt x="321547" y="21052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0B4CA77D-AD60-60A8-8092-0DD2AE043D4F}"/>
                </a:ext>
              </a:extLst>
            </p:cNvPr>
            <p:cNvSpPr/>
            <p:nvPr/>
          </p:nvSpPr>
          <p:spPr>
            <a:xfrm>
              <a:off x="6204304" y="4114890"/>
              <a:ext cx="141962" cy="43056"/>
            </a:xfrm>
            <a:custGeom>
              <a:avLst/>
              <a:gdLst>
                <a:gd name="connsiteX0" fmla="*/ 136259 w 141962"/>
                <a:gd name="connsiteY0" fmla="*/ 8790 h 43056"/>
                <a:gd name="connsiteX1" fmla="*/ 105657 w 141962"/>
                <a:gd name="connsiteY1" fmla="*/ 590 h 43056"/>
                <a:gd name="connsiteX2" fmla="*/ 100098 w 141962"/>
                <a:gd name="connsiteY2" fmla="*/ 679 h 43056"/>
                <a:gd name="connsiteX3" fmla="*/ 29629 w 141962"/>
                <a:gd name="connsiteY3" fmla="*/ 15451 h 43056"/>
                <a:gd name="connsiteX4" fmla="*/ 6724 w 141962"/>
                <a:gd name="connsiteY4" fmla="*/ 29094 h 43056"/>
                <a:gd name="connsiteX5" fmla="*/ 6172 w 141962"/>
                <a:gd name="connsiteY5" fmla="*/ 43056 h 43056"/>
                <a:gd name="connsiteX6" fmla="*/ 135404 w 141962"/>
                <a:gd name="connsiteY6" fmla="*/ 30356 h 43056"/>
                <a:gd name="connsiteX7" fmla="*/ 141943 w 141962"/>
                <a:gd name="connsiteY7" fmla="*/ 15620 h 43056"/>
                <a:gd name="connsiteX8" fmla="*/ 136259 w 141962"/>
                <a:gd name="connsiteY8" fmla="*/ 8790 h 4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62" h="43056">
                  <a:moveTo>
                    <a:pt x="136259" y="8790"/>
                  </a:moveTo>
                  <a:cubicBezTo>
                    <a:pt x="125132" y="7607"/>
                    <a:pt x="114833" y="4841"/>
                    <a:pt x="105657" y="590"/>
                  </a:cubicBezTo>
                  <a:cubicBezTo>
                    <a:pt x="103893" y="-228"/>
                    <a:pt x="101844" y="-193"/>
                    <a:pt x="100098" y="679"/>
                  </a:cubicBezTo>
                  <a:cubicBezTo>
                    <a:pt x="77799" y="12534"/>
                    <a:pt x="48338" y="21321"/>
                    <a:pt x="29629" y="15451"/>
                  </a:cubicBezTo>
                  <a:cubicBezTo>
                    <a:pt x="23402" y="14188"/>
                    <a:pt x="15883" y="26194"/>
                    <a:pt x="6724" y="29094"/>
                  </a:cubicBezTo>
                  <a:cubicBezTo>
                    <a:pt x="-1071" y="30881"/>
                    <a:pt x="-3129" y="42345"/>
                    <a:pt x="6172" y="43056"/>
                  </a:cubicBezTo>
                  <a:cubicBezTo>
                    <a:pt x="34974" y="39686"/>
                    <a:pt x="124170" y="31246"/>
                    <a:pt x="135404" y="30356"/>
                  </a:cubicBezTo>
                  <a:cubicBezTo>
                    <a:pt x="142486" y="30107"/>
                    <a:pt x="141355" y="20369"/>
                    <a:pt x="141943" y="15620"/>
                  </a:cubicBezTo>
                  <a:cubicBezTo>
                    <a:pt x="142210" y="12187"/>
                    <a:pt x="139689" y="9154"/>
                    <a:pt x="136259" y="8790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7B5BCDC8-8115-FD36-DA79-149044873F6E}"/>
                </a:ext>
              </a:extLst>
            </p:cNvPr>
            <p:cNvSpPr/>
            <p:nvPr/>
          </p:nvSpPr>
          <p:spPr>
            <a:xfrm>
              <a:off x="5956956" y="3571001"/>
              <a:ext cx="381909" cy="518746"/>
            </a:xfrm>
            <a:custGeom>
              <a:avLst/>
              <a:gdLst>
                <a:gd name="connsiteX0" fmla="*/ 376043 w 381909"/>
                <a:gd name="connsiteY0" fmla="*/ 411256 h 518746"/>
                <a:gd name="connsiteX1" fmla="*/ 381014 w 381909"/>
                <a:gd name="connsiteY1" fmla="*/ 403892 h 518746"/>
                <a:gd name="connsiteX2" fmla="*/ 327900 w 381909"/>
                <a:gd name="connsiteY2" fmla="*/ 31772 h 518746"/>
                <a:gd name="connsiteX3" fmla="*/ 316844 w 381909"/>
                <a:gd name="connsiteY3" fmla="*/ 28997 h 518746"/>
                <a:gd name="connsiteX4" fmla="*/ 37355 w 381909"/>
                <a:gd name="connsiteY4" fmla="*/ 15764 h 518746"/>
                <a:gd name="connsiteX5" fmla="*/ 0 w 381909"/>
                <a:gd name="connsiteY5" fmla="*/ 689 h 518746"/>
                <a:gd name="connsiteX6" fmla="*/ 48117 w 381909"/>
                <a:gd name="connsiteY6" fmla="*/ 512472 h 518746"/>
                <a:gd name="connsiteX7" fmla="*/ 56081 w 381909"/>
                <a:gd name="connsiteY7" fmla="*/ 518538 h 518746"/>
                <a:gd name="connsiteX8" fmla="*/ 376043 w 381909"/>
                <a:gd name="connsiteY8" fmla="*/ 411256 h 51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909" h="518746">
                  <a:moveTo>
                    <a:pt x="376043" y="411256"/>
                  </a:moveTo>
                  <a:cubicBezTo>
                    <a:pt x="378912" y="409877"/>
                    <a:pt x="380818" y="407058"/>
                    <a:pt x="381014" y="403892"/>
                  </a:cubicBezTo>
                  <a:cubicBezTo>
                    <a:pt x="388311" y="285565"/>
                    <a:pt x="349272" y="131459"/>
                    <a:pt x="327900" y="31772"/>
                  </a:cubicBezTo>
                  <a:cubicBezTo>
                    <a:pt x="326911" y="26836"/>
                    <a:pt x="320069" y="25022"/>
                    <a:pt x="316844" y="28997"/>
                  </a:cubicBezTo>
                  <a:cubicBezTo>
                    <a:pt x="247818" y="106522"/>
                    <a:pt x="74157" y="32163"/>
                    <a:pt x="37355" y="15764"/>
                  </a:cubicBezTo>
                  <a:cubicBezTo>
                    <a:pt x="28704" y="13772"/>
                    <a:pt x="6459" y="-3642"/>
                    <a:pt x="0" y="689"/>
                  </a:cubicBezTo>
                  <a:cubicBezTo>
                    <a:pt x="25248" y="153710"/>
                    <a:pt x="45578" y="334070"/>
                    <a:pt x="48117" y="512472"/>
                  </a:cubicBezTo>
                  <a:cubicBezTo>
                    <a:pt x="48179" y="516599"/>
                    <a:pt x="52081" y="519578"/>
                    <a:pt x="56081" y="518538"/>
                  </a:cubicBezTo>
                  <a:cubicBezTo>
                    <a:pt x="160057" y="491457"/>
                    <a:pt x="277066" y="458836"/>
                    <a:pt x="376043" y="41125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2D19474D-AE33-F1DB-D806-4A3B96735AA2}"/>
                </a:ext>
              </a:extLst>
            </p:cNvPr>
            <p:cNvSpPr/>
            <p:nvPr/>
          </p:nvSpPr>
          <p:spPr>
            <a:xfrm>
              <a:off x="5672855" y="4248642"/>
              <a:ext cx="360034" cy="202334"/>
            </a:xfrm>
            <a:custGeom>
              <a:avLst/>
              <a:gdLst>
                <a:gd name="connsiteX0" fmla="*/ 345991 w 360034"/>
                <a:gd name="connsiteY0" fmla="*/ 5211 h 202334"/>
                <a:gd name="connsiteX1" fmla="*/ 336708 w 360034"/>
                <a:gd name="connsiteY1" fmla="*/ 765 h 202334"/>
                <a:gd name="connsiteX2" fmla="*/ 196554 w 360034"/>
                <a:gd name="connsiteY2" fmla="*/ 60920 h 202334"/>
                <a:gd name="connsiteX3" fmla="*/ 12648 w 360034"/>
                <a:gd name="connsiteY3" fmla="*/ 102008 h 202334"/>
                <a:gd name="connsiteX4" fmla="*/ 6278 w 360034"/>
                <a:gd name="connsiteY4" fmla="*/ 108829 h 202334"/>
                <a:gd name="connsiteX5" fmla="*/ 5263 w 360034"/>
                <a:gd name="connsiteY5" fmla="*/ 187305 h 202334"/>
                <a:gd name="connsiteX6" fmla="*/ 345786 w 360034"/>
                <a:gd name="connsiteY6" fmla="*/ 201712 h 202334"/>
                <a:gd name="connsiteX7" fmla="*/ 356521 w 360034"/>
                <a:gd name="connsiteY7" fmla="*/ 192570 h 202334"/>
                <a:gd name="connsiteX8" fmla="*/ 345991 w 360034"/>
                <a:gd name="connsiteY8" fmla="*/ 5211 h 20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034" h="202334">
                  <a:moveTo>
                    <a:pt x="345991" y="5211"/>
                  </a:moveTo>
                  <a:cubicBezTo>
                    <a:pt x="345314" y="1103"/>
                    <a:pt x="340361" y="-1325"/>
                    <a:pt x="336708" y="765"/>
                  </a:cubicBezTo>
                  <a:cubicBezTo>
                    <a:pt x="291228" y="25071"/>
                    <a:pt x="242470" y="44040"/>
                    <a:pt x="196554" y="60920"/>
                  </a:cubicBezTo>
                  <a:cubicBezTo>
                    <a:pt x="138646" y="82362"/>
                    <a:pt x="76275" y="102177"/>
                    <a:pt x="12648" y="102008"/>
                  </a:cubicBezTo>
                  <a:cubicBezTo>
                    <a:pt x="9058" y="101937"/>
                    <a:pt x="5940" y="105254"/>
                    <a:pt x="6278" y="108829"/>
                  </a:cubicBezTo>
                  <a:cubicBezTo>
                    <a:pt x="10955" y="123308"/>
                    <a:pt x="-9081" y="188257"/>
                    <a:pt x="5263" y="187305"/>
                  </a:cubicBezTo>
                  <a:cubicBezTo>
                    <a:pt x="119296" y="199400"/>
                    <a:pt x="231619" y="204158"/>
                    <a:pt x="345786" y="201712"/>
                  </a:cubicBezTo>
                  <a:cubicBezTo>
                    <a:pt x="349804" y="201739"/>
                    <a:pt x="357733" y="196394"/>
                    <a:pt x="356521" y="192570"/>
                  </a:cubicBezTo>
                  <a:cubicBezTo>
                    <a:pt x="365332" y="130467"/>
                    <a:pt x="355978" y="63393"/>
                    <a:pt x="345991" y="521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77AE83D6-1430-D1EB-6BC9-A9D9F7C7FD64}"/>
                </a:ext>
              </a:extLst>
            </p:cNvPr>
            <p:cNvSpPr/>
            <p:nvPr/>
          </p:nvSpPr>
          <p:spPr>
            <a:xfrm>
              <a:off x="6334013" y="4176031"/>
              <a:ext cx="135520" cy="241987"/>
            </a:xfrm>
            <a:custGeom>
              <a:avLst/>
              <a:gdLst>
                <a:gd name="connsiteX0" fmla="*/ 134151 w 135520"/>
                <a:gd name="connsiteY0" fmla="*/ 204021 h 241987"/>
                <a:gd name="connsiteX1" fmla="*/ 124263 w 135520"/>
                <a:gd name="connsiteY1" fmla="*/ 104467 h 241987"/>
                <a:gd name="connsiteX2" fmla="*/ 127398 w 135520"/>
                <a:gd name="connsiteY2" fmla="*/ 8525 h 241987"/>
                <a:gd name="connsiteX3" fmla="*/ 120842 w 135520"/>
                <a:gd name="connsiteY3" fmla="*/ 40 h 241987"/>
                <a:gd name="connsiteX4" fmla="*/ 33651 w 135520"/>
                <a:gd name="connsiteY4" fmla="*/ 6773 h 241987"/>
                <a:gd name="connsiteX5" fmla="*/ 5917 w 135520"/>
                <a:gd name="connsiteY5" fmla="*/ 15595 h 241987"/>
                <a:gd name="connsiteX6" fmla="*/ 483 w 135520"/>
                <a:gd name="connsiteY6" fmla="*/ 206653 h 241987"/>
                <a:gd name="connsiteX7" fmla="*/ 1614 w 135520"/>
                <a:gd name="connsiteY7" fmla="*/ 235824 h 241987"/>
                <a:gd name="connsiteX8" fmla="*/ 14069 w 135520"/>
                <a:gd name="connsiteY8" fmla="*/ 241373 h 241987"/>
                <a:gd name="connsiteX9" fmla="*/ 84262 w 135520"/>
                <a:gd name="connsiteY9" fmla="*/ 226583 h 241987"/>
                <a:gd name="connsiteX10" fmla="*/ 134151 w 135520"/>
                <a:gd name="connsiteY10" fmla="*/ 204021 h 24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520" h="241987">
                  <a:moveTo>
                    <a:pt x="134151" y="204021"/>
                  </a:moveTo>
                  <a:cubicBezTo>
                    <a:pt x="124298" y="173116"/>
                    <a:pt x="127381" y="135452"/>
                    <a:pt x="124263" y="104467"/>
                  </a:cubicBezTo>
                  <a:cubicBezTo>
                    <a:pt x="123915" y="73358"/>
                    <a:pt x="119853" y="38576"/>
                    <a:pt x="127398" y="8525"/>
                  </a:cubicBezTo>
                  <a:cubicBezTo>
                    <a:pt x="129029" y="4354"/>
                    <a:pt x="125323" y="-493"/>
                    <a:pt x="120842" y="40"/>
                  </a:cubicBezTo>
                  <a:cubicBezTo>
                    <a:pt x="91816" y="2548"/>
                    <a:pt x="62248" y="4701"/>
                    <a:pt x="33651" y="6773"/>
                  </a:cubicBezTo>
                  <a:cubicBezTo>
                    <a:pt x="25535" y="9147"/>
                    <a:pt x="6087" y="3473"/>
                    <a:pt x="5917" y="15595"/>
                  </a:cubicBezTo>
                  <a:cubicBezTo>
                    <a:pt x="7378" y="78089"/>
                    <a:pt x="100" y="141989"/>
                    <a:pt x="483" y="206653"/>
                  </a:cubicBezTo>
                  <a:cubicBezTo>
                    <a:pt x="554" y="218926"/>
                    <a:pt x="-1219" y="227037"/>
                    <a:pt x="1614" y="235824"/>
                  </a:cubicBezTo>
                  <a:cubicBezTo>
                    <a:pt x="3120" y="240475"/>
                    <a:pt x="9606" y="243303"/>
                    <a:pt x="14069" y="241373"/>
                  </a:cubicBezTo>
                  <a:cubicBezTo>
                    <a:pt x="34114" y="235424"/>
                    <a:pt x="58123" y="229020"/>
                    <a:pt x="84262" y="226583"/>
                  </a:cubicBezTo>
                  <a:cubicBezTo>
                    <a:pt x="94106" y="225641"/>
                    <a:pt x="144397" y="221470"/>
                    <a:pt x="134151" y="20402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8A5C6C3C-1D2F-A091-5490-3864E4DB9081}"/>
                </a:ext>
              </a:extLst>
            </p:cNvPr>
            <p:cNvSpPr/>
            <p:nvPr/>
          </p:nvSpPr>
          <p:spPr>
            <a:xfrm>
              <a:off x="6340802" y="4100558"/>
              <a:ext cx="144596" cy="44858"/>
            </a:xfrm>
            <a:custGeom>
              <a:avLst/>
              <a:gdLst>
                <a:gd name="connsiteX0" fmla="*/ 139514 w 144596"/>
                <a:gd name="connsiteY0" fmla="*/ 18044 h 44858"/>
                <a:gd name="connsiteX1" fmla="*/ 37258 w 144596"/>
                <a:gd name="connsiteY1" fmla="*/ 20685 h 44858"/>
                <a:gd name="connsiteX2" fmla="*/ 7610 w 144596"/>
                <a:gd name="connsiteY2" fmla="*/ 23255 h 44858"/>
                <a:gd name="connsiteX3" fmla="*/ 572 w 144596"/>
                <a:gd name="connsiteY3" fmla="*/ 29090 h 44858"/>
                <a:gd name="connsiteX4" fmla="*/ 6754 w 144596"/>
                <a:gd name="connsiteY4" fmla="*/ 44831 h 44858"/>
                <a:gd name="connsiteX5" fmla="*/ 139140 w 144596"/>
                <a:gd name="connsiteY5" fmla="*/ 30619 h 44858"/>
                <a:gd name="connsiteX6" fmla="*/ 139514 w 144596"/>
                <a:gd name="connsiteY6" fmla="*/ 18044 h 44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596" h="44858">
                  <a:moveTo>
                    <a:pt x="139514" y="18044"/>
                  </a:moveTo>
                  <a:cubicBezTo>
                    <a:pt x="67700" y="-4074"/>
                    <a:pt x="113901" y="-8814"/>
                    <a:pt x="37258" y="20685"/>
                  </a:cubicBezTo>
                  <a:cubicBezTo>
                    <a:pt x="25418" y="23629"/>
                    <a:pt x="20296" y="24616"/>
                    <a:pt x="7610" y="23255"/>
                  </a:cubicBezTo>
                  <a:cubicBezTo>
                    <a:pt x="4144" y="22811"/>
                    <a:pt x="768" y="25603"/>
                    <a:pt x="572" y="29090"/>
                  </a:cubicBezTo>
                  <a:cubicBezTo>
                    <a:pt x="117" y="34479"/>
                    <a:pt x="-2074" y="45480"/>
                    <a:pt x="6754" y="44831"/>
                  </a:cubicBezTo>
                  <a:cubicBezTo>
                    <a:pt x="45134" y="41665"/>
                    <a:pt x="87914" y="37067"/>
                    <a:pt x="139140" y="30619"/>
                  </a:cubicBezTo>
                  <a:cubicBezTo>
                    <a:pt x="146151" y="29926"/>
                    <a:pt x="146543" y="19156"/>
                    <a:pt x="139514" y="18044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D2F241C4-36A1-2A78-995C-14CE4F3F9F42}"/>
                </a:ext>
              </a:extLst>
            </p:cNvPr>
            <p:cNvSpPr/>
            <p:nvPr/>
          </p:nvSpPr>
          <p:spPr>
            <a:xfrm>
              <a:off x="6230547" y="3540371"/>
              <a:ext cx="324961" cy="489005"/>
            </a:xfrm>
            <a:custGeom>
              <a:avLst/>
              <a:gdLst>
                <a:gd name="connsiteX0" fmla="*/ 324016 w 324961"/>
                <a:gd name="connsiteY0" fmla="*/ 437883 h 489005"/>
                <a:gd name="connsiteX1" fmla="*/ 309120 w 324961"/>
                <a:gd name="connsiteY1" fmla="*/ 380360 h 489005"/>
                <a:gd name="connsiteX2" fmla="*/ 78425 w 324961"/>
                <a:gd name="connsiteY2" fmla="*/ 30020 h 489005"/>
                <a:gd name="connsiteX3" fmla="*/ 38380 w 324961"/>
                <a:gd name="connsiteY3" fmla="*/ 3509 h 489005"/>
                <a:gd name="connsiteX4" fmla="*/ 125 w 324961"/>
                <a:gd name="connsiteY4" fmla="*/ 4220 h 489005"/>
                <a:gd name="connsiteX5" fmla="*/ 36438 w 324961"/>
                <a:gd name="connsiteY5" fmla="*/ 46455 h 489005"/>
                <a:gd name="connsiteX6" fmla="*/ 46059 w 324961"/>
                <a:gd name="connsiteY6" fmla="*/ 48127 h 489005"/>
                <a:gd name="connsiteX7" fmla="*/ 57881 w 324961"/>
                <a:gd name="connsiteY7" fmla="*/ 57537 h 489005"/>
                <a:gd name="connsiteX8" fmla="*/ 111370 w 324961"/>
                <a:gd name="connsiteY8" fmla="*/ 427238 h 489005"/>
                <a:gd name="connsiteX9" fmla="*/ 119949 w 324961"/>
                <a:gd name="connsiteY9" fmla="*/ 433223 h 489005"/>
                <a:gd name="connsiteX10" fmla="*/ 247791 w 324961"/>
                <a:gd name="connsiteY10" fmla="*/ 449782 h 489005"/>
                <a:gd name="connsiteX11" fmla="*/ 260558 w 324961"/>
                <a:gd name="connsiteY11" fmla="*/ 455377 h 489005"/>
                <a:gd name="connsiteX12" fmla="*/ 306020 w 324961"/>
                <a:gd name="connsiteY12" fmla="*/ 487028 h 489005"/>
                <a:gd name="connsiteX13" fmla="*/ 314768 w 324961"/>
                <a:gd name="connsiteY13" fmla="*/ 485232 h 489005"/>
                <a:gd name="connsiteX14" fmla="*/ 324016 w 324961"/>
                <a:gd name="connsiteY14" fmla="*/ 437883 h 48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4961" h="489005">
                  <a:moveTo>
                    <a:pt x="324016" y="437883"/>
                  </a:moveTo>
                  <a:cubicBezTo>
                    <a:pt x="312657" y="425059"/>
                    <a:pt x="312657" y="398725"/>
                    <a:pt x="309120" y="380360"/>
                  </a:cubicBezTo>
                  <a:cubicBezTo>
                    <a:pt x="292416" y="180177"/>
                    <a:pt x="286411" y="118839"/>
                    <a:pt x="78425" y="30020"/>
                  </a:cubicBezTo>
                  <a:cubicBezTo>
                    <a:pt x="73338" y="28117"/>
                    <a:pt x="41079" y="4398"/>
                    <a:pt x="38380" y="3509"/>
                  </a:cubicBezTo>
                  <a:cubicBezTo>
                    <a:pt x="29800" y="850"/>
                    <a:pt x="5176" y="-3170"/>
                    <a:pt x="125" y="4220"/>
                  </a:cubicBezTo>
                  <a:cubicBezTo>
                    <a:pt x="-2120" y="17649"/>
                    <a:pt x="26477" y="38709"/>
                    <a:pt x="36438" y="46455"/>
                  </a:cubicBezTo>
                  <a:cubicBezTo>
                    <a:pt x="37979" y="47514"/>
                    <a:pt x="41578" y="48038"/>
                    <a:pt x="46059" y="48127"/>
                  </a:cubicBezTo>
                  <a:cubicBezTo>
                    <a:pt x="51672" y="48234"/>
                    <a:pt x="56518" y="52094"/>
                    <a:pt x="57881" y="57537"/>
                  </a:cubicBezTo>
                  <a:cubicBezTo>
                    <a:pt x="85704" y="168269"/>
                    <a:pt x="111504" y="295766"/>
                    <a:pt x="111370" y="427238"/>
                  </a:cubicBezTo>
                  <a:cubicBezTo>
                    <a:pt x="111254" y="431515"/>
                    <a:pt x="115940" y="434833"/>
                    <a:pt x="119949" y="433223"/>
                  </a:cubicBezTo>
                  <a:cubicBezTo>
                    <a:pt x="161126" y="416966"/>
                    <a:pt x="195577" y="427753"/>
                    <a:pt x="247791" y="449782"/>
                  </a:cubicBezTo>
                  <a:cubicBezTo>
                    <a:pt x="249680" y="450574"/>
                    <a:pt x="257698" y="448502"/>
                    <a:pt x="260558" y="455377"/>
                  </a:cubicBezTo>
                  <a:cubicBezTo>
                    <a:pt x="264362" y="464519"/>
                    <a:pt x="275908" y="462705"/>
                    <a:pt x="306020" y="487028"/>
                  </a:cubicBezTo>
                  <a:cubicBezTo>
                    <a:pt x="309423" y="490088"/>
                    <a:pt x="313753" y="489679"/>
                    <a:pt x="314768" y="485232"/>
                  </a:cubicBezTo>
                  <a:cubicBezTo>
                    <a:pt x="316559" y="472087"/>
                    <a:pt x="328336" y="446661"/>
                    <a:pt x="324016" y="43788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B2B43B1-91D4-7A78-79F8-D29B7BBF27DC}"/>
                </a:ext>
              </a:extLst>
            </p:cNvPr>
            <p:cNvSpPr/>
            <p:nvPr/>
          </p:nvSpPr>
          <p:spPr>
            <a:xfrm>
              <a:off x="5565150" y="3493036"/>
              <a:ext cx="438135" cy="633267"/>
            </a:xfrm>
            <a:custGeom>
              <a:avLst/>
              <a:gdLst>
                <a:gd name="connsiteX0" fmla="*/ 204301 w 438135"/>
                <a:gd name="connsiteY0" fmla="*/ 607894 h 633267"/>
                <a:gd name="connsiteX1" fmla="*/ 246511 w 438135"/>
                <a:gd name="connsiteY1" fmla="*/ 625032 h 633267"/>
                <a:gd name="connsiteX2" fmla="*/ 272846 w 438135"/>
                <a:gd name="connsiteY2" fmla="*/ 630208 h 633267"/>
                <a:gd name="connsiteX3" fmla="*/ 303590 w 438135"/>
                <a:gd name="connsiteY3" fmla="*/ 633267 h 633267"/>
                <a:gd name="connsiteX4" fmla="*/ 414319 w 438135"/>
                <a:gd name="connsiteY4" fmla="*/ 607103 h 633267"/>
                <a:gd name="connsiteX5" fmla="*/ 437758 w 438135"/>
                <a:gd name="connsiteY5" fmla="*/ 595995 h 633267"/>
                <a:gd name="connsiteX6" fmla="*/ 434150 w 438135"/>
                <a:gd name="connsiteY6" fmla="*/ 537583 h 633267"/>
                <a:gd name="connsiteX7" fmla="*/ 432466 w 438135"/>
                <a:gd name="connsiteY7" fmla="*/ 456786 h 633267"/>
                <a:gd name="connsiteX8" fmla="*/ 413517 w 438135"/>
                <a:gd name="connsiteY8" fmla="*/ 227139 h 633267"/>
                <a:gd name="connsiteX9" fmla="*/ 384091 w 438135"/>
                <a:gd name="connsiteY9" fmla="*/ 64931 h 633267"/>
                <a:gd name="connsiteX10" fmla="*/ 371654 w 438135"/>
                <a:gd name="connsiteY10" fmla="*/ 5122 h 633267"/>
                <a:gd name="connsiteX11" fmla="*/ 367645 w 438135"/>
                <a:gd name="connsiteY11" fmla="*/ 409 h 633267"/>
                <a:gd name="connsiteX12" fmla="*/ 361516 w 438135"/>
                <a:gd name="connsiteY12" fmla="*/ 1307 h 633267"/>
                <a:gd name="connsiteX13" fmla="*/ 295973 w 438135"/>
                <a:gd name="connsiteY13" fmla="*/ 31216 h 633267"/>
                <a:gd name="connsiteX14" fmla="*/ 246066 w 438135"/>
                <a:gd name="connsiteY14" fmla="*/ 47695 h 633267"/>
                <a:gd name="connsiteX15" fmla="*/ 106553 w 438135"/>
                <a:gd name="connsiteY15" fmla="*/ 117420 h 633267"/>
                <a:gd name="connsiteX16" fmla="*/ 106268 w 438135"/>
                <a:gd name="connsiteY16" fmla="*/ 117722 h 633267"/>
                <a:gd name="connsiteX17" fmla="*/ 12386 w 438135"/>
                <a:gd name="connsiteY17" fmla="*/ 398231 h 633267"/>
                <a:gd name="connsiteX18" fmla="*/ 10792 w 438135"/>
                <a:gd name="connsiteY18" fmla="*/ 409882 h 633267"/>
                <a:gd name="connsiteX19" fmla="*/ 10774 w 438135"/>
                <a:gd name="connsiteY19" fmla="*/ 410059 h 633267"/>
                <a:gd name="connsiteX20" fmla="*/ 529 w 438135"/>
                <a:gd name="connsiteY20" fmla="*/ 618753 h 633267"/>
                <a:gd name="connsiteX21" fmla="*/ 3709 w 438135"/>
                <a:gd name="connsiteY21" fmla="*/ 624063 h 633267"/>
                <a:gd name="connsiteX22" fmla="*/ 9901 w 438135"/>
                <a:gd name="connsiteY22" fmla="*/ 624178 h 633267"/>
                <a:gd name="connsiteX23" fmla="*/ 105671 w 438135"/>
                <a:gd name="connsiteY23" fmla="*/ 603545 h 633267"/>
                <a:gd name="connsiteX24" fmla="*/ 204301 w 438135"/>
                <a:gd name="connsiteY24" fmla="*/ 607894 h 63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38135" h="633267">
                  <a:moveTo>
                    <a:pt x="204301" y="607894"/>
                  </a:moveTo>
                  <a:cubicBezTo>
                    <a:pt x="206288" y="608419"/>
                    <a:pt x="238235" y="623129"/>
                    <a:pt x="246511" y="625032"/>
                  </a:cubicBezTo>
                  <a:cubicBezTo>
                    <a:pt x="255046" y="626989"/>
                    <a:pt x="263875" y="629016"/>
                    <a:pt x="272846" y="630208"/>
                  </a:cubicBezTo>
                  <a:cubicBezTo>
                    <a:pt x="283207" y="632334"/>
                    <a:pt x="293443" y="633267"/>
                    <a:pt x="303590" y="633267"/>
                  </a:cubicBezTo>
                  <a:cubicBezTo>
                    <a:pt x="341774" y="633267"/>
                    <a:pt x="378523" y="620016"/>
                    <a:pt x="414319" y="607103"/>
                  </a:cubicBezTo>
                  <a:cubicBezTo>
                    <a:pt x="420350" y="604924"/>
                    <a:pt x="434230" y="601375"/>
                    <a:pt x="437758" y="595995"/>
                  </a:cubicBezTo>
                  <a:cubicBezTo>
                    <a:pt x="439557" y="593256"/>
                    <a:pt x="434346" y="554276"/>
                    <a:pt x="434150" y="537583"/>
                  </a:cubicBezTo>
                  <a:cubicBezTo>
                    <a:pt x="433838" y="511116"/>
                    <a:pt x="433508" y="483742"/>
                    <a:pt x="432466" y="456786"/>
                  </a:cubicBezTo>
                  <a:cubicBezTo>
                    <a:pt x="429303" y="374681"/>
                    <a:pt x="423103" y="299549"/>
                    <a:pt x="413517" y="227139"/>
                  </a:cubicBezTo>
                  <a:cubicBezTo>
                    <a:pt x="406897" y="172399"/>
                    <a:pt x="395307" y="117767"/>
                    <a:pt x="384091" y="64931"/>
                  </a:cubicBezTo>
                  <a:cubicBezTo>
                    <a:pt x="379930" y="45339"/>
                    <a:pt x="375636" y="25079"/>
                    <a:pt x="371654" y="5122"/>
                  </a:cubicBezTo>
                  <a:cubicBezTo>
                    <a:pt x="371226" y="2961"/>
                    <a:pt x="369712" y="1183"/>
                    <a:pt x="367645" y="409"/>
                  </a:cubicBezTo>
                  <a:cubicBezTo>
                    <a:pt x="365578" y="-365"/>
                    <a:pt x="363262" y="-27"/>
                    <a:pt x="361516" y="1307"/>
                  </a:cubicBezTo>
                  <a:cubicBezTo>
                    <a:pt x="342674" y="15697"/>
                    <a:pt x="318931" y="23585"/>
                    <a:pt x="295973" y="31216"/>
                  </a:cubicBezTo>
                  <a:cubicBezTo>
                    <a:pt x="295973" y="31216"/>
                    <a:pt x="261282" y="42937"/>
                    <a:pt x="246066" y="47695"/>
                  </a:cubicBezTo>
                  <a:cubicBezTo>
                    <a:pt x="196239" y="63277"/>
                    <a:pt x="144728" y="79383"/>
                    <a:pt x="106553" y="117420"/>
                  </a:cubicBezTo>
                  <a:cubicBezTo>
                    <a:pt x="106455" y="117518"/>
                    <a:pt x="106357" y="117625"/>
                    <a:pt x="106268" y="117722"/>
                  </a:cubicBezTo>
                  <a:cubicBezTo>
                    <a:pt x="40423" y="192579"/>
                    <a:pt x="25527" y="301835"/>
                    <a:pt x="12386" y="398231"/>
                  </a:cubicBezTo>
                  <a:lnTo>
                    <a:pt x="10792" y="409882"/>
                  </a:lnTo>
                  <a:cubicBezTo>
                    <a:pt x="10783" y="409944"/>
                    <a:pt x="10774" y="410006"/>
                    <a:pt x="10774" y="410059"/>
                  </a:cubicBezTo>
                  <a:cubicBezTo>
                    <a:pt x="1874" y="492235"/>
                    <a:pt x="-1387" y="558545"/>
                    <a:pt x="529" y="618753"/>
                  </a:cubicBezTo>
                  <a:cubicBezTo>
                    <a:pt x="600" y="620950"/>
                    <a:pt x="1803" y="622960"/>
                    <a:pt x="3709" y="624063"/>
                  </a:cubicBezTo>
                  <a:cubicBezTo>
                    <a:pt x="5616" y="625165"/>
                    <a:pt x="7959" y="625210"/>
                    <a:pt x="9901" y="624178"/>
                  </a:cubicBezTo>
                  <a:cubicBezTo>
                    <a:pt x="37349" y="609629"/>
                    <a:pt x="105671" y="603545"/>
                    <a:pt x="105671" y="603545"/>
                  </a:cubicBezTo>
                  <a:cubicBezTo>
                    <a:pt x="139525" y="600148"/>
                    <a:pt x="172229" y="599410"/>
                    <a:pt x="204301" y="607894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F372C58F-4CC4-110E-E09E-E1604AAA6E03}"/>
                </a:ext>
              </a:extLst>
            </p:cNvPr>
            <p:cNvSpPr/>
            <p:nvPr/>
          </p:nvSpPr>
          <p:spPr>
            <a:xfrm>
              <a:off x="6062885" y="3569887"/>
              <a:ext cx="1050323" cy="636955"/>
            </a:xfrm>
            <a:custGeom>
              <a:avLst/>
              <a:gdLst>
                <a:gd name="connsiteX0" fmla="*/ 1049203 w 1050323"/>
                <a:gd name="connsiteY0" fmla="*/ 32503 h 636955"/>
                <a:gd name="connsiteX1" fmla="*/ 953246 w 1050323"/>
                <a:gd name="connsiteY1" fmla="*/ 2559 h 636955"/>
                <a:gd name="connsiteX2" fmla="*/ 658460 w 1050323"/>
                <a:gd name="connsiteY2" fmla="*/ 9798 h 636955"/>
                <a:gd name="connsiteX3" fmla="*/ 578975 w 1050323"/>
                <a:gd name="connsiteY3" fmla="*/ 107155 h 636955"/>
                <a:gd name="connsiteX4" fmla="*/ 462082 w 1050323"/>
                <a:gd name="connsiteY4" fmla="*/ 549764 h 636955"/>
                <a:gd name="connsiteX5" fmla="*/ 446224 w 1050323"/>
                <a:gd name="connsiteY5" fmla="*/ 555883 h 636955"/>
                <a:gd name="connsiteX6" fmla="*/ 114334 w 1050323"/>
                <a:gd name="connsiteY6" fmla="*/ 594090 h 636955"/>
                <a:gd name="connsiteX7" fmla="*/ 5289 w 1050323"/>
                <a:gd name="connsiteY7" fmla="*/ 610044 h 636955"/>
                <a:gd name="connsiteX8" fmla="*/ 12933 w 1050323"/>
                <a:gd name="connsiteY8" fmla="*/ 635177 h 636955"/>
                <a:gd name="connsiteX9" fmla="*/ 30929 w 1050323"/>
                <a:gd name="connsiteY9" fmla="*/ 636956 h 636955"/>
                <a:gd name="connsiteX10" fmla="*/ 234577 w 1050323"/>
                <a:gd name="connsiteY10" fmla="*/ 617239 h 636955"/>
                <a:gd name="connsiteX11" fmla="*/ 347960 w 1050323"/>
                <a:gd name="connsiteY11" fmla="*/ 608337 h 636955"/>
                <a:gd name="connsiteX12" fmla="*/ 455026 w 1050323"/>
                <a:gd name="connsiteY12" fmla="*/ 597549 h 636955"/>
                <a:gd name="connsiteX13" fmla="*/ 489700 w 1050323"/>
                <a:gd name="connsiteY13" fmla="*/ 587855 h 636955"/>
                <a:gd name="connsiteX14" fmla="*/ 553942 w 1050323"/>
                <a:gd name="connsiteY14" fmla="*/ 580340 h 636955"/>
                <a:gd name="connsiteX15" fmla="*/ 662336 w 1050323"/>
                <a:gd name="connsiteY15" fmla="*/ 563736 h 636955"/>
                <a:gd name="connsiteX16" fmla="*/ 706844 w 1050323"/>
                <a:gd name="connsiteY16" fmla="*/ 545878 h 636955"/>
                <a:gd name="connsiteX17" fmla="*/ 754819 w 1050323"/>
                <a:gd name="connsiteY17" fmla="*/ 462769 h 636955"/>
                <a:gd name="connsiteX18" fmla="*/ 776075 w 1050323"/>
                <a:gd name="connsiteY18" fmla="*/ 429098 h 636955"/>
                <a:gd name="connsiteX19" fmla="*/ 792886 w 1050323"/>
                <a:gd name="connsiteY19" fmla="*/ 435377 h 636955"/>
                <a:gd name="connsiteX20" fmla="*/ 797447 w 1050323"/>
                <a:gd name="connsiteY20" fmla="*/ 429489 h 636955"/>
                <a:gd name="connsiteX21" fmla="*/ 826045 w 1050323"/>
                <a:gd name="connsiteY21" fmla="*/ 414895 h 636955"/>
                <a:gd name="connsiteX22" fmla="*/ 850268 w 1050323"/>
                <a:gd name="connsiteY22" fmla="*/ 418079 h 636955"/>
                <a:gd name="connsiteX23" fmla="*/ 883721 w 1050323"/>
                <a:gd name="connsiteY23" fmla="*/ 504906 h 636955"/>
                <a:gd name="connsiteX24" fmla="*/ 891088 w 1050323"/>
                <a:gd name="connsiteY24" fmla="*/ 496839 h 636955"/>
                <a:gd name="connsiteX25" fmla="*/ 919089 w 1050323"/>
                <a:gd name="connsiteY25" fmla="*/ 457201 h 636955"/>
                <a:gd name="connsiteX26" fmla="*/ 1049203 w 1050323"/>
                <a:gd name="connsiteY26" fmla="*/ 32503 h 63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50323" h="636955">
                  <a:moveTo>
                    <a:pt x="1049203" y="32503"/>
                  </a:moveTo>
                  <a:cubicBezTo>
                    <a:pt x="1060277" y="-11413"/>
                    <a:pt x="986467" y="1536"/>
                    <a:pt x="953246" y="2559"/>
                  </a:cubicBezTo>
                  <a:cubicBezTo>
                    <a:pt x="844094" y="6036"/>
                    <a:pt x="744351" y="5867"/>
                    <a:pt x="658460" y="9798"/>
                  </a:cubicBezTo>
                  <a:cubicBezTo>
                    <a:pt x="602156" y="16842"/>
                    <a:pt x="591528" y="61193"/>
                    <a:pt x="578975" y="107155"/>
                  </a:cubicBezTo>
                  <a:cubicBezTo>
                    <a:pt x="535304" y="254173"/>
                    <a:pt x="502163" y="403716"/>
                    <a:pt x="462082" y="549764"/>
                  </a:cubicBezTo>
                  <a:cubicBezTo>
                    <a:pt x="461672" y="551250"/>
                    <a:pt x="449191" y="554860"/>
                    <a:pt x="446224" y="555883"/>
                  </a:cubicBezTo>
                  <a:cubicBezTo>
                    <a:pt x="335764" y="576632"/>
                    <a:pt x="224679" y="575440"/>
                    <a:pt x="114334" y="594090"/>
                  </a:cubicBezTo>
                  <a:cubicBezTo>
                    <a:pt x="78859" y="596571"/>
                    <a:pt x="42279" y="604477"/>
                    <a:pt x="5289" y="610044"/>
                  </a:cubicBezTo>
                  <a:cubicBezTo>
                    <a:pt x="-7058" y="615114"/>
                    <a:pt x="5040" y="628712"/>
                    <a:pt x="12933" y="635177"/>
                  </a:cubicBezTo>
                  <a:cubicBezTo>
                    <a:pt x="18002" y="637836"/>
                    <a:pt x="24916" y="635889"/>
                    <a:pt x="30929" y="636956"/>
                  </a:cubicBezTo>
                  <a:cubicBezTo>
                    <a:pt x="99002" y="630615"/>
                    <a:pt x="167154" y="621117"/>
                    <a:pt x="234577" y="617239"/>
                  </a:cubicBezTo>
                  <a:cubicBezTo>
                    <a:pt x="271905" y="614509"/>
                    <a:pt x="310462" y="610783"/>
                    <a:pt x="347960" y="608337"/>
                  </a:cubicBezTo>
                  <a:cubicBezTo>
                    <a:pt x="383266" y="605909"/>
                    <a:pt x="419765" y="603392"/>
                    <a:pt x="455026" y="597549"/>
                  </a:cubicBezTo>
                  <a:cubicBezTo>
                    <a:pt x="460568" y="596464"/>
                    <a:pt x="481031" y="586130"/>
                    <a:pt x="489700" y="587855"/>
                  </a:cubicBezTo>
                  <a:cubicBezTo>
                    <a:pt x="511224" y="586299"/>
                    <a:pt x="532409" y="583106"/>
                    <a:pt x="553942" y="580340"/>
                  </a:cubicBezTo>
                  <a:cubicBezTo>
                    <a:pt x="590263" y="576240"/>
                    <a:pt x="626059" y="566484"/>
                    <a:pt x="662336" y="563736"/>
                  </a:cubicBezTo>
                  <a:cubicBezTo>
                    <a:pt x="676527" y="557057"/>
                    <a:pt x="692118" y="552424"/>
                    <a:pt x="706844" y="545878"/>
                  </a:cubicBezTo>
                  <a:cubicBezTo>
                    <a:pt x="741322" y="532689"/>
                    <a:pt x="740306" y="467295"/>
                    <a:pt x="754819" y="462769"/>
                  </a:cubicBezTo>
                  <a:cubicBezTo>
                    <a:pt x="776699" y="481054"/>
                    <a:pt x="766311" y="435261"/>
                    <a:pt x="776075" y="429098"/>
                  </a:cubicBezTo>
                  <a:cubicBezTo>
                    <a:pt x="782596" y="424625"/>
                    <a:pt x="786098" y="437840"/>
                    <a:pt x="792886" y="435377"/>
                  </a:cubicBezTo>
                  <a:cubicBezTo>
                    <a:pt x="795514" y="434594"/>
                    <a:pt x="797358" y="432220"/>
                    <a:pt x="797447" y="429489"/>
                  </a:cubicBezTo>
                  <a:cubicBezTo>
                    <a:pt x="798427" y="404926"/>
                    <a:pt x="815541" y="393809"/>
                    <a:pt x="826045" y="414895"/>
                  </a:cubicBezTo>
                  <a:cubicBezTo>
                    <a:pt x="831675" y="422979"/>
                    <a:pt x="842838" y="411018"/>
                    <a:pt x="850268" y="418079"/>
                  </a:cubicBezTo>
                  <a:cubicBezTo>
                    <a:pt x="880033" y="438667"/>
                    <a:pt x="865066" y="516636"/>
                    <a:pt x="883721" y="504906"/>
                  </a:cubicBezTo>
                  <a:cubicBezTo>
                    <a:pt x="887017" y="502976"/>
                    <a:pt x="890269" y="500664"/>
                    <a:pt x="891088" y="496839"/>
                  </a:cubicBezTo>
                  <a:cubicBezTo>
                    <a:pt x="903231" y="482726"/>
                    <a:pt x="912131" y="470132"/>
                    <a:pt x="919089" y="457201"/>
                  </a:cubicBezTo>
                  <a:cubicBezTo>
                    <a:pt x="972212" y="327641"/>
                    <a:pt x="1030806" y="184857"/>
                    <a:pt x="1049203" y="3250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CE1AC039-4BF0-DE5C-3BBC-36856ECB7612}"/>
                </a:ext>
              </a:extLst>
            </p:cNvPr>
            <p:cNvSpPr/>
            <p:nvPr/>
          </p:nvSpPr>
          <p:spPr>
            <a:xfrm>
              <a:off x="5546364" y="3368067"/>
              <a:ext cx="1576758" cy="1077197"/>
            </a:xfrm>
            <a:custGeom>
              <a:avLst/>
              <a:gdLst>
                <a:gd name="connsiteX0" fmla="*/ 1575657 w 1576758"/>
                <a:gd name="connsiteY0" fmla="*/ 220903 h 1077197"/>
                <a:gd name="connsiteX1" fmla="*/ 1567675 w 1576758"/>
                <a:gd name="connsiteY1" fmla="*/ 203649 h 1077197"/>
                <a:gd name="connsiteX2" fmla="*/ 1543220 w 1576758"/>
                <a:gd name="connsiteY2" fmla="*/ 195227 h 1077197"/>
                <a:gd name="connsiteX3" fmla="*/ 1180745 w 1576758"/>
                <a:gd name="connsiteY3" fmla="*/ 200777 h 1077197"/>
                <a:gd name="connsiteX4" fmla="*/ 1156611 w 1576758"/>
                <a:gd name="connsiteY4" fmla="*/ 205339 h 1077197"/>
                <a:gd name="connsiteX5" fmla="*/ 1088422 w 1576758"/>
                <a:gd name="connsiteY5" fmla="*/ 294443 h 1077197"/>
                <a:gd name="connsiteX6" fmla="*/ 1014889 w 1576758"/>
                <a:gd name="connsiteY6" fmla="*/ 568877 h 1077197"/>
                <a:gd name="connsiteX7" fmla="*/ 843972 w 1576758"/>
                <a:gd name="connsiteY7" fmla="*/ 221232 h 1077197"/>
                <a:gd name="connsiteX8" fmla="*/ 740959 w 1576758"/>
                <a:gd name="connsiteY8" fmla="*/ 175395 h 1077197"/>
                <a:gd name="connsiteX9" fmla="*/ 682134 w 1576758"/>
                <a:gd name="connsiteY9" fmla="*/ 166066 h 1077197"/>
                <a:gd name="connsiteX10" fmla="*/ 668378 w 1576758"/>
                <a:gd name="connsiteY10" fmla="*/ 111860 h 1077197"/>
                <a:gd name="connsiteX11" fmla="*/ 660574 w 1576758"/>
                <a:gd name="connsiteY11" fmla="*/ 109752 h 1077197"/>
                <a:gd name="connsiteX12" fmla="*/ 712851 w 1576758"/>
                <a:gd name="connsiteY12" fmla="*/ 226043 h 1077197"/>
                <a:gd name="connsiteX13" fmla="*/ 612386 w 1576758"/>
                <a:gd name="connsiteY13" fmla="*/ 250927 h 1077197"/>
                <a:gd name="connsiteX14" fmla="*/ 413122 w 1576758"/>
                <a:gd name="connsiteY14" fmla="*/ 188166 h 1077197"/>
                <a:gd name="connsiteX15" fmla="*/ 406208 w 1576758"/>
                <a:gd name="connsiteY15" fmla="*/ 161930 h 1077197"/>
                <a:gd name="connsiteX16" fmla="*/ 447626 w 1576758"/>
                <a:gd name="connsiteY16" fmla="*/ 56987 h 1077197"/>
                <a:gd name="connsiteX17" fmla="*/ 431020 w 1576758"/>
                <a:gd name="connsiteY17" fmla="*/ 1581 h 1077197"/>
                <a:gd name="connsiteX18" fmla="*/ 421942 w 1576758"/>
                <a:gd name="connsiteY18" fmla="*/ 5334 h 1077197"/>
                <a:gd name="connsiteX19" fmla="*/ 427287 w 1576758"/>
                <a:gd name="connsiteY19" fmla="*/ 32344 h 1077197"/>
                <a:gd name="connsiteX20" fmla="*/ 400534 w 1576758"/>
                <a:gd name="connsiteY20" fmla="*/ 143209 h 1077197"/>
                <a:gd name="connsiteX21" fmla="*/ 392560 w 1576758"/>
                <a:gd name="connsiteY21" fmla="*/ 120416 h 1077197"/>
                <a:gd name="connsiteX22" fmla="*/ 383999 w 1576758"/>
                <a:gd name="connsiteY22" fmla="*/ 118379 h 1077197"/>
                <a:gd name="connsiteX23" fmla="*/ 133642 w 1576758"/>
                <a:gd name="connsiteY23" fmla="*/ 210488 h 1077197"/>
                <a:gd name="connsiteX24" fmla="*/ 0 w 1576758"/>
                <a:gd name="connsiteY24" fmla="*/ 687213 h 1077197"/>
                <a:gd name="connsiteX25" fmla="*/ 38299 w 1576758"/>
                <a:gd name="connsiteY25" fmla="*/ 941504 h 1077197"/>
                <a:gd name="connsiteX26" fmla="*/ 120546 w 1576758"/>
                <a:gd name="connsiteY26" fmla="*/ 988568 h 1077197"/>
                <a:gd name="connsiteX27" fmla="*/ 109481 w 1576758"/>
                <a:gd name="connsiteY27" fmla="*/ 1045682 h 1077197"/>
                <a:gd name="connsiteX28" fmla="*/ 109561 w 1576758"/>
                <a:gd name="connsiteY28" fmla="*/ 1071766 h 1077197"/>
                <a:gd name="connsiteX29" fmla="*/ 128849 w 1576758"/>
                <a:gd name="connsiteY29" fmla="*/ 1071766 h 1077197"/>
                <a:gd name="connsiteX30" fmla="*/ 133633 w 1576758"/>
                <a:gd name="connsiteY30" fmla="*/ 1047603 h 1077197"/>
                <a:gd name="connsiteX31" fmla="*/ 139139 w 1576758"/>
                <a:gd name="connsiteY31" fmla="*/ 988924 h 1077197"/>
                <a:gd name="connsiteX32" fmla="*/ 325263 w 1576758"/>
                <a:gd name="connsiteY32" fmla="*/ 947445 h 1077197"/>
                <a:gd name="connsiteX33" fmla="*/ 466210 w 1576758"/>
                <a:gd name="connsiteY33" fmla="*/ 886934 h 1077197"/>
                <a:gd name="connsiteX34" fmla="*/ 474130 w 1576758"/>
                <a:gd name="connsiteY34" fmla="*/ 1050564 h 1077197"/>
                <a:gd name="connsiteX35" fmla="*/ 491146 w 1576758"/>
                <a:gd name="connsiteY35" fmla="*/ 1050564 h 1077197"/>
                <a:gd name="connsiteX36" fmla="*/ 476856 w 1576758"/>
                <a:gd name="connsiteY36" fmla="*/ 881295 h 1077197"/>
                <a:gd name="connsiteX37" fmla="*/ 533124 w 1576758"/>
                <a:gd name="connsiteY37" fmla="*/ 849688 h 1077197"/>
                <a:gd name="connsiteX38" fmla="*/ 536376 w 1576758"/>
                <a:gd name="connsiteY38" fmla="*/ 845899 h 1077197"/>
                <a:gd name="connsiteX39" fmla="*/ 625375 w 1576758"/>
                <a:gd name="connsiteY39" fmla="*/ 837673 h 1077197"/>
                <a:gd name="connsiteX40" fmla="*/ 783597 w 1576758"/>
                <a:gd name="connsiteY40" fmla="*/ 823861 h 1077197"/>
                <a:gd name="connsiteX41" fmla="*/ 782741 w 1576758"/>
                <a:gd name="connsiteY41" fmla="*/ 869663 h 1077197"/>
                <a:gd name="connsiteX42" fmla="*/ 781022 w 1576758"/>
                <a:gd name="connsiteY42" fmla="*/ 921725 h 1077197"/>
                <a:gd name="connsiteX43" fmla="*/ 779873 w 1576758"/>
                <a:gd name="connsiteY43" fmla="*/ 972409 h 1077197"/>
                <a:gd name="connsiteX44" fmla="*/ 780782 w 1576758"/>
                <a:gd name="connsiteY44" fmla="*/ 1024507 h 1077197"/>
                <a:gd name="connsiteX45" fmla="*/ 797192 w 1576758"/>
                <a:gd name="connsiteY45" fmla="*/ 1024507 h 1077197"/>
                <a:gd name="connsiteX46" fmla="*/ 798947 w 1576758"/>
                <a:gd name="connsiteY46" fmla="*/ 973787 h 1077197"/>
                <a:gd name="connsiteX47" fmla="*/ 800087 w 1576758"/>
                <a:gd name="connsiteY47" fmla="*/ 871041 h 1077197"/>
                <a:gd name="connsiteX48" fmla="*/ 799891 w 1576758"/>
                <a:gd name="connsiteY48" fmla="*/ 822679 h 1077197"/>
                <a:gd name="connsiteX49" fmla="*/ 909051 w 1576758"/>
                <a:gd name="connsiteY49" fmla="*/ 814328 h 1077197"/>
                <a:gd name="connsiteX50" fmla="*/ 904552 w 1576758"/>
                <a:gd name="connsiteY50" fmla="*/ 861436 h 1077197"/>
                <a:gd name="connsiteX51" fmla="*/ 905550 w 1576758"/>
                <a:gd name="connsiteY51" fmla="*/ 912680 h 1077197"/>
                <a:gd name="connsiteX52" fmla="*/ 910566 w 1576758"/>
                <a:gd name="connsiteY52" fmla="*/ 989707 h 1077197"/>
                <a:gd name="connsiteX53" fmla="*/ 916250 w 1576758"/>
                <a:gd name="connsiteY53" fmla="*/ 1015124 h 1077197"/>
                <a:gd name="connsiteX54" fmla="*/ 935208 w 1576758"/>
                <a:gd name="connsiteY54" fmla="*/ 1012652 h 1077197"/>
                <a:gd name="connsiteX55" fmla="*/ 935992 w 1576758"/>
                <a:gd name="connsiteY55" fmla="*/ 988435 h 1077197"/>
                <a:gd name="connsiteX56" fmla="*/ 934041 w 1576758"/>
                <a:gd name="connsiteY56" fmla="*/ 963933 h 1077197"/>
                <a:gd name="connsiteX57" fmla="*/ 930504 w 1576758"/>
                <a:gd name="connsiteY57" fmla="*/ 892821 h 1077197"/>
                <a:gd name="connsiteX58" fmla="*/ 987405 w 1576758"/>
                <a:gd name="connsiteY58" fmla="*/ 899740 h 1077197"/>
                <a:gd name="connsiteX59" fmla="*/ 1158589 w 1576758"/>
                <a:gd name="connsiteY59" fmla="*/ 859622 h 1077197"/>
                <a:gd name="connsiteX60" fmla="*/ 1202999 w 1576758"/>
                <a:gd name="connsiteY60" fmla="*/ 862397 h 1077197"/>
                <a:gd name="connsiteX61" fmla="*/ 1252372 w 1576758"/>
                <a:gd name="connsiteY61" fmla="*/ 859337 h 1077197"/>
                <a:gd name="connsiteX62" fmla="*/ 1396491 w 1576758"/>
                <a:gd name="connsiteY62" fmla="*/ 720502 h 1077197"/>
                <a:gd name="connsiteX63" fmla="*/ 1423048 w 1576758"/>
                <a:gd name="connsiteY63" fmla="*/ 696071 h 1077197"/>
                <a:gd name="connsiteX64" fmla="*/ 1463370 w 1576758"/>
                <a:gd name="connsiteY64" fmla="*/ 620032 h 1077197"/>
                <a:gd name="connsiteX65" fmla="*/ 1500671 w 1576758"/>
                <a:gd name="connsiteY65" fmla="*/ 521893 h 1077197"/>
                <a:gd name="connsiteX66" fmla="*/ 1571924 w 1576758"/>
                <a:gd name="connsiteY66" fmla="*/ 272111 h 1077197"/>
                <a:gd name="connsiteX67" fmla="*/ 1575657 w 1576758"/>
                <a:gd name="connsiteY67" fmla="*/ 220903 h 1077197"/>
                <a:gd name="connsiteX68" fmla="*/ 759276 w 1576758"/>
                <a:gd name="connsiteY68" fmla="*/ 207749 h 1077197"/>
                <a:gd name="connsiteX69" fmla="*/ 812417 w 1576758"/>
                <a:gd name="connsiteY69" fmla="*/ 234439 h 1077197"/>
                <a:gd name="connsiteX70" fmla="*/ 986977 w 1576758"/>
                <a:gd name="connsiteY70" fmla="*/ 553571 h 1077197"/>
                <a:gd name="connsiteX71" fmla="*/ 1003405 w 1576758"/>
                <a:gd name="connsiteY71" fmla="*/ 614385 h 1077197"/>
                <a:gd name="connsiteX72" fmla="*/ 992759 w 1576758"/>
                <a:gd name="connsiteY72" fmla="*/ 655944 h 1077197"/>
                <a:gd name="connsiteX73" fmla="*/ 950148 w 1576758"/>
                <a:gd name="connsiteY73" fmla="*/ 626969 h 1077197"/>
                <a:gd name="connsiteX74" fmla="*/ 921310 w 1576758"/>
                <a:gd name="connsiteY74" fmla="*/ 423558 h 1077197"/>
                <a:gd name="connsiteX75" fmla="*/ 916820 w 1576758"/>
                <a:gd name="connsiteY75" fmla="*/ 424794 h 1077197"/>
                <a:gd name="connsiteX76" fmla="*/ 934504 w 1576758"/>
                <a:gd name="connsiteY76" fmla="*/ 618618 h 1077197"/>
                <a:gd name="connsiteX77" fmla="*/ 801931 w 1576758"/>
                <a:gd name="connsiteY77" fmla="*/ 599542 h 1077197"/>
                <a:gd name="connsiteX78" fmla="*/ 739248 w 1576758"/>
                <a:gd name="connsiteY78" fmla="*/ 193173 h 1077197"/>
                <a:gd name="connsiteX79" fmla="*/ 759276 w 1576758"/>
                <a:gd name="connsiteY79" fmla="*/ 207749 h 1077197"/>
                <a:gd name="connsiteX80" fmla="*/ 703934 w 1576758"/>
                <a:gd name="connsiteY80" fmla="*/ 196561 h 1077197"/>
                <a:gd name="connsiteX81" fmla="*/ 690000 w 1576758"/>
                <a:gd name="connsiteY81" fmla="*/ 179388 h 1077197"/>
                <a:gd name="connsiteX82" fmla="*/ 720442 w 1576758"/>
                <a:gd name="connsiteY82" fmla="*/ 181807 h 1077197"/>
                <a:gd name="connsiteX83" fmla="*/ 726696 w 1576758"/>
                <a:gd name="connsiteY83" fmla="*/ 212836 h 1077197"/>
                <a:gd name="connsiteX84" fmla="*/ 724522 w 1576758"/>
                <a:gd name="connsiteY84" fmla="*/ 213708 h 1077197"/>
                <a:gd name="connsiteX85" fmla="*/ 703934 w 1576758"/>
                <a:gd name="connsiteY85" fmla="*/ 196561 h 1077197"/>
                <a:gd name="connsiteX86" fmla="*/ 448356 w 1576758"/>
                <a:gd name="connsiteY86" fmla="*/ 225919 h 1077197"/>
                <a:gd name="connsiteX87" fmla="*/ 732255 w 1576758"/>
                <a:gd name="connsiteY87" fmla="*/ 236102 h 1077197"/>
                <a:gd name="connsiteX88" fmla="*/ 777868 w 1576758"/>
                <a:gd name="connsiteY88" fmla="*/ 511888 h 1077197"/>
                <a:gd name="connsiteX89" fmla="*/ 782946 w 1576758"/>
                <a:gd name="connsiteY89" fmla="*/ 607768 h 1077197"/>
                <a:gd name="connsiteX90" fmla="*/ 466878 w 1576758"/>
                <a:gd name="connsiteY90" fmla="*/ 713565 h 1077197"/>
                <a:gd name="connsiteX91" fmla="*/ 418280 w 1576758"/>
                <a:gd name="connsiteY91" fmla="*/ 210560 h 1077197"/>
                <a:gd name="connsiteX92" fmla="*/ 448356 w 1576758"/>
                <a:gd name="connsiteY92" fmla="*/ 225919 h 1077197"/>
                <a:gd name="connsiteX93" fmla="*/ 35903 w 1576758"/>
                <a:gd name="connsiteY93" fmla="*/ 535731 h 1077197"/>
                <a:gd name="connsiteX94" fmla="*/ 129847 w 1576758"/>
                <a:gd name="connsiteY94" fmla="*/ 246916 h 1077197"/>
                <a:gd name="connsiteX95" fmla="*/ 312808 w 1576758"/>
                <a:gd name="connsiteY95" fmla="*/ 163558 h 1077197"/>
                <a:gd name="connsiteX96" fmla="*/ 384177 w 1576758"/>
                <a:gd name="connsiteY96" fmla="*/ 131354 h 1077197"/>
                <a:gd name="connsiteX97" fmla="*/ 425950 w 1576758"/>
                <a:gd name="connsiteY97" fmla="*/ 352891 h 1077197"/>
                <a:gd name="connsiteX98" fmla="*/ 444864 w 1576758"/>
                <a:gd name="connsiteY98" fmla="*/ 582013 h 1077197"/>
                <a:gd name="connsiteX99" fmla="*/ 447323 w 1576758"/>
                <a:gd name="connsiteY99" fmla="*/ 713618 h 1077197"/>
                <a:gd name="connsiteX100" fmla="*/ 449345 w 1576758"/>
                <a:gd name="connsiteY100" fmla="*/ 719514 h 1077197"/>
                <a:gd name="connsiteX101" fmla="*/ 292692 w 1576758"/>
                <a:gd name="connsiteY101" fmla="*/ 748907 h 1077197"/>
                <a:gd name="connsiteX102" fmla="*/ 240896 w 1576758"/>
                <a:gd name="connsiteY102" fmla="*/ 738724 h 1077197"/>
                <a:gd name="connsiteX103" fmla="*/ 240121 w 1576758"/>
                <a:gd name="connsiteY103" fmla="*/ 713440 h 1077197"/>
                <a:gd name="connsiteX104" fmla="*/ 239114 w 1576758"/>
                <a:gd name="connsiteY104" fmla="*/ 684261 h 1077197"/>
                <a:gd name="connsiteX105" fmla="*/ 239987 w 1576758"/>
                <a:gd name="connsiteY105" fmla="*/ 518344 h 1077197"/>
                <a:gd name="connsiteX106" fmla="*/ 231140 w 1576758"/>
                <a:gd name="connsiteY106" fmla="*/ 515908 h 1077197"/>
                <a:gd name="connsiteX107" fmla="*/ 222677 w 1576758"/>
                <a:gd name="connsiteY107" fmla="*/ 626942 h 1077197"/>
                <a:gd name="connsiteX108" fmla="*/ 223995 w 1576758"/>
                <a:gd name="connsiteY108" fmla="*/ 724246 h 1077197"/>
                <a:gd name="connsiteX109" fmla="*/ 119192 w 1576758"/>
                <a:gd name="connsiteY109" fmla="*/ 722654 h 1077197"/>
                <a:gd name="connsiteX110" fmla="*/ 25675 w 1576758"/>
                <a:gd name="connsiteY110" fmla="*/ 743536 h 1077197"/>
                <a:gd name="connsiteX111" fmla="*/ 35903 w 1576758"/>
                <a:gd name="connsiteY111" fmla="*/ 535731 h 1077197"/>
                <a:gd name="connsiteX112" fmla="*/ 48215 w 1576758"/>
                <a:gd name="connsiteY112" fmla="*/ 903360 h 1077197"/>
                <a:gd name="connsiteX113" fmla="*/ 35039 w 1576758"/>
                <a:gd name="connsiteY113" fmla="*/ 846495 h 1077197"/>
                <a:gd name="connsiteX114" fmla="*/ 26522 w 1576758"/>
                <a:gd name="connsiteY114" fmla="*/ 763510 h 1077197"/>
                <a:gd name="connsiteX115" fmla="*/ 149615 w 1576758"/>
                <a:gd name="connsiteY115" fmla="*/ 736759 h 1077197"/>
                <a:gd name="connsiteX116" fmla="*/ 215906 w 1576758"/>
                <a:gd name="connsiteY116" fmla="*/ 740005 h 1077197"/>
                <a:gd name="connsiteX117" fmla="*/ 169767 w 1576758"/>
                <a:gd name="connsiteY117" fmla="*/ 769673 h 1077197"/>
                <a:gd name="connsiteX118" fmla="*/ 118399 w 1576758"/>
                <a:gd name="connsiteY118" fmla="*/ 815075 h 1077197"/>
                <a:gd name="connsiteX119" fmla="*/ 48215 w 1576758"/>
                <a:gd name="connsiteY119" fmla="*/ 903360 h 1077197"/>
                <a:gd name="connsiteX120" fmla="*/ 359677 w 1576758"/>
                <a:gd name="connsiteY120" fmla="*/ 907406 h 1077197"/>
                <a:gd name="connsiteX121" fmla="*/ 84919 w 1576758"/>
                <a:gd name="connsiteY121" fmla="*/ 954524 h 1077197"/>
                <a:gd name="connsiteX122" fmla="*/ 54424 w 1576758"/>
                <a:gd name="connsiteY122" fmla="*/ 918390 h 1077197"/>
                <a:gd name="connsiteX123" fmla="*/ 131299 w 1576758"/>
                <a:gd name="connsiteY123" fmla="*/ 822963 h 1077197"/>
                <a:gd name="connsiteX124" fmla="*/ 183095 w 1576758"/>
                <a:gd name="connsiteY124" fmla="*/ 778540 h 1077197"/>
                <a:gd name="connsiteX125" fmla="*/ 210775 w 1576758"/>
                <a:gd name="connsiteY125" fmla="*/ 761527 h 1077197"/>
                <a:gd name="connsiteX126" fmla="*/ 233225 w 1576758"/>
                <a:gd name="connsiteY126" fmla="*/ 744816 h 1077197"/>
                <a:gd name="connsiteX127" fmla="*/ 239933 w 1576758"/>
                <a:gd name="connsiteY127" fmla="*/ 742122 h 1077197"/>
                <a:gd name="connsiteX128" fmla="*/ 355143 w 1576758"/>
                <a:gd name="connsiteY128" fmla="*/ 762763 h 1077197"/>
                <a:gd name="connsiteX129" fmla="*/ 438851 w 1576758"/>
                <a:gd name="connsiteY129" fmla="*/ 737701 h 1077197"/>
                <a:gd name="connsiteX130" fmla="*/ 700219 w 1576758"/>
                <a:gd name="connsiteY130" fmla="*/ 657563 h 1077197"/>
                <a:gd name="connsiteX131" fmla="*/ 774483 w 1576758"/>
                <a:gd name="connsiteY131" fmla="*/ 627983 h 1077197"/>
                <a:gd name="connsiteX132" fmla="*/ 990692 w 1576758"/>
                <a:gd name="connsiteY132" fmla="*/ 663877 h 1077197"/>
                <a:gd name="connsiteX133" fmla="*/ 983369 w 1576758"/>
                <a:gd name="connsiteY133" fmla="*/ 691642 h 1077197"/>
                <a:gd name="connsiteX134" fmla="*/ 892846 w 1576758"/>
                <a:gd name="connsiteY134" fmla="*/ 634742 h 1077197"/>
                <a:gd name="connsiteX135" fmla="*/ 843144 w 1576758"/>
                <a:gd name="connsiteY135" fmla="*/ 638975 h 1077197"/>
                <a:gd name="connsiteX136" fmla="*/ 843144 w 1576758"/>
                <a:gd name="connsiteY136" fmla="*/ 644712 h 1077197"/>
                <a:gd name="connsiteX137" fmla="*/ 888222 w 1576758"/>
                <a:gd name="connsiteY137" fmla="*/ 647148 h 1077197"/>
                <a:gd name="connsiteX138" fmla="*/ 979039 w 1576758"/>
                <a:gd name="connsiteY138" fmla="*/ 707837 h 1077197"/>
                <a:gd name="connsiteX139" fmla="*/ 974193 w 1576758"/>
                <a:gd name="connsiteY139" fmla="*/ 725927 h 1077197"/>
                <a:gd name="connsiteX140" fmla="*/ 860008 w 1576758"/>
                <a:gd name="connsiteY140" fmla="*/ 680890 h 1077197"/>
                <a:gd name="connsiteX141" fmla="*/ 791401 w 1576758"/>
                <a:gd name="connsiteY141" fmla="*/ 684812 h 1077197"/>
                <a:gd name="connsiteX142" fmla="*/ 791695 w 1576758"/>
                <a:gd name="connsiteY142" fmla="*/ 686955 h 1077197"/>
                <a:gd name="connsiteX143" fmla="*/ 933907 w 1576758"/>
                <a:gd name="connsiteY143" fmla="*/ 742486 h 1077197"/>
                <a:gd name="connsiteX144" fmla="*/ 898966 w 1576758"/>
                <a:gd name="connsiteY144" fmla="*/ 729715 h 1077197"/>
                <a:gd name="connsiteX145" fmla="*/ 796185 w 1576758"/>
                <a:gd name="connsiteY145" fmla="*/ 720181 h 1077197"/>
                <a:gd name="connsiteX146" fmla="*/ 739409 w 1576758"/>
                <a:gd name="connsiteY146" fmla="*/ 749352 h 1077197"/>
                <a:gd name="connsiteX147" fmla="*/ 667550 w 1576758"/>
                <a:gd name="connsiteY147" fmla="*/ 753914 h 1077197"/>
                <a:gd name="connsiteX148" fmla="*/ 665251 w 1576758"/>
                <a:gd name="connsiteY148" fmla="*/ 759366 h 1077197"/>
                <a:gd name="connsiteX149" fmla="*/ 674249 w 1576758"/>
                <a:gd name="connsiteY149" fmla="*/ 764311 h 1077197"/>
                <a:gd name="connsiteX150" fmla="*/ 634667 w 1576758"/>
                <a:gd name="connsiteY150" fmla="*/ 787229 h 1077197"/>
                <a:gd name="connsiteX151" fmla="*/ 509337 w 1576758"/>
                <a:gd name="connsiteY151" fmla="*/ 806323 h 1077197"/>
                <a:gd name="connsiteX152" fmla="*/ 508553 w 1576758"/>
                <a:gd name="connsiteY152" fmla="*/ 819424 h 1077197"/>
                <a:gd name="connsiteX153" fmla="*/ 520883 w 1576758"/>
                <a:gd name="connsiteY153" fmla="*/ 839718 h 1077197"/>
                <a:gd name="connsiteX154" fmla="*/ 359677 w 1576758"/>
                <a:gd name="connsiteY154" fmla="*/ 907406 h 1077197"/>
                <a:gd name="connsiteX155" fmla="*/ 954273 w 1576758"/>
                <a:gd name="connsiteY155" fmla="*/ 746061 h 1077197"/>
                <a:gd name="connsiteX156" fmla="*/ 895946 w 1576758"/>
                <a:gd name="connsiteY156" fmla="*/ 693946 h 1077197"/>
                <a:gd name="connsiteX157" fmla="*/ 944794 w 1576758"/>
                <a:gd name="connsiteY157" fmla="*/ 719123 h 1077197"/>
                <a:gd name="connsiteX158" fmla="*/ 968812 w 1576758"/>
                <a:gd name="connsiteY158" fmla="*/ 741241 h 1077197"/>
                <a:gd name="connsiteX159" fmla="*/ 962086 w 1576758"/>
                <a:gd name="connsiteY159" fmla="*/ 753505 h 1077197"/>
                <a:gd name="connsiteX160" fmla="*/ 953141 w 1576758"/>
                <a:gd name="connsiteY160" fmla="*/ 754510 h 1077197"/>
                <a:gd name="connsiteX161" fmla="*/ 953729 w 1576758"/>
                <a:gd name="connsiteY161" fmla="*/ 753194 h 1077197"/>
                <a:gd name="connsiteX162" fmla="*/ 954273 w 1576758"/>
                <a:gd name="connsiteY162" fmla="*/ 746061 h 1077197"/>
                <a:gd name="connsiteX163" fmla="*/ 785102 w 1576758"/>
                <a:gd name="connsiteY163" fmla="*/ 771461 h 1077197"/>
                <a:gd name="connsiteX164" fmla="*/ 737217 w 1576758"/>
                <a:gd name="connsiteY164" fmla="*/ 775481 h 1077197"/>
                <a:gd name="connsiteX165" fmla="*/ 664111 w 1576758"/>
                <a:gd name="connsiteY165" fmla="*/ 783512 h 1077197"/>
                <a:gd name="connsiteX166" fmla="*/ 686009 w 1576758"/>
                <a:gd name="connsiteY166" fmla="*/ 768464 h 1077197"/>
                <a:gd name="connsiteX167" fmla="*/ 745805 w 1576758"/>
                <a:gd name="connsiteY167" fmla="*/ 760220 h 1077197"/>
                <a:gd name="connsiteX168" fmla="*/ 756442 w 1576758"/>
                <a:gd name="connsiteY168" fmla="*/ 755399 h 1077197"/>
                <a:gd name="connsiteX169" fmla="*/ 760906 w 1576758"/>
                <a:gd name="connsiteY169" fmla="*/ 753203 h 1077197"/>
                <a:gd name="connsiteX170" fmla="*/ 785182 w 1576758"/>
                <a:gd name="connsiteY170" fmla="*/ 760753 h 1077197"/>
                <a:gd name="connsiteX171" fmla="*/ 785076 w 1576758"/>
                <a:gd name="connsiteY171" fmla="*/ 762043 h 1077197"/>
                <a:gd name="connsiteX172" fmla="*/ 785076 w 1576758"/>
                <a:gd name="connsiteY172" fmla="*/ 771105 h 1077197"/>
                <a:gd name="connsiteX173" fmla="*/ 785102 w 1576758"/>
                <a:gd name="connsiteY173" fmla="*/ 771461 h 1077197"/>
                <a:gd name="connsiteX174" fmla="*/ 772692 w 1576758"/>
                <a:gd name="connsiteY174" fmla="*/ 747093 h 1077197"/>
                <a:gd name="connsiteX175" fmla="*/ 866903 w 1576758"/>
                <a:gd name="connsiteY175" fmla="*/ 730338 h 1077197"/>
                <a:gd name="connsiteX176" fmla="*/ 772692 w 1576758"/>
                <a:gd name="connsiteY176" fmla="*/ 747093 h 1077197"/>
                <a:gd name="connsiteX177" fmla="*/ 801967 w 1576758"/>
                <a:gd name="connsiteY177" fmla="*/ 762550 h 1077197"/>
                <a:gd name="connsiteX178" fmla="*/ 833237 w 1576758"/>
                <a:gd name="connsiteY178" fmla="*/ 759348 h 1077197"/>
                <a:gd name="connsiteX179" fmla="*/ 866743 w 1576758"/>
                <a:gd name="connsiteY179" fmla="*/ 745181 h 1077197"/>
                <a:gd name="connsiteX180" fmla="*/ 885710 w 1576758"/>
                <a:gd name="connsiteY180" fmla="*/ 738297 h 1077197"/>
                <a:gd name="connsiteX181" fmla="*/ 932776 w 1576758"/>
                <a:gd name="connsiteY181" fmla="*/ 756787 h 1077197"/>
                <a:gd name="connsiteX182" fmla="*/ 801976 w 1576758"/>
                <a:gd name="connsiteY182" fmla="*/ 770065 h 1077197"/>
                <a:gd name="connsiteX183" fmla="*/ 801967 w 1576758"/>
                <a:gd name="connsiteY183" fmla="*/ 762550 h 1077197"/>
                <a:gd name="connsiteX184" fmla="*/ 810038 w 1576758"/>
                <a:gd name="connsiteY184" fmla="*/ 807915 h 1077197"/>
                <a:gd name="connsiteX185" fmla="*/ 573187 w 1576758"/>
                <a:gd name="connsiteY185" fmla="*/ 830282 h 1077197"/>
                <a:gd name="connsiteX186" fmla="*/ 547004 w 1576758"/>
                <a:gd name="connsiteY186" fmla="*/ 832390 h 1077197"/>
                <a:gd name="connsiteX187" fmla="*/ 533044 w 1576758"/>
                <a:gd name="connsiteY187" fmla="*/ 832017 h 1077197"/>
                <a:gd name="connsiteX188" fmla="*/ 522496 w 1576758"/>
                <a:gd name="connsiteY188" fmla="*/ 818143 h 1077197"/>
                <a:gd name="connsiteX189" fmla="*/ 628128 w 1576758"/>
                <a:gd name="connsiteY189" fmla="*/ 801832 h 1077197"/>
                <a:gd name="connsiteX190" fmla="*/ 634302 w 1576758"/>
                <a:gd name="connsiteY190" fmla="*/ 801014 h 1077197"/>
                <a:gd name="connsiteX191" fmla="*/ 963502 w 1576758"/>
                <a:gd name="connsiteY191" fmla="*/ 763973 h 1077197"/>
                <a:gd name="connsiteX192" fmla="*/ 972108 w 1576758"/>
                <a:gd name="connsiteY192" fmla="*/ 765698 h 1077197"/>
                <a:gd name="connsiteX193" fmla="*/ 971413 w 1576758"/>
                <a:gd name="connsiteY193" fmla="*/ 791738 h 1077197"/>
                <a:gd name="connsiteX194" fmla="*/ 970113 w 1576758"/>
                <a:gd name="connsiteY194" fmla="*/ 793090 h 1077197"/>
                <a:gd name="connsiteX195" fmla="*/ 810038 w 1576758"/>
                <a:gd name="connsiteY195" fmla="*/ 807915 h 1077197"/>
                <a:gd name="connsiteX196" fmla="*/ 1378780 w 1576758"/>
                <a:gd name="connsiteY196" fmla="*/ 740005 h 1077197"/>
                <a:gd name="connsiteX197" fmla="*/ 1337380 w 1576758"/>
                <a:gd name="connsiteY197" fmla="*/ 819468 h 1077197"/>
                <a:gd name="connsiteX198" fmla="*/ 1182001 w 1576758"/>
                <a:gd name="connsiteY198" fmla="*/ 845499 h 1077197"/>
                <a:gd name="connsiteX199" fmla="*/ 1148530 w 1576758"/>
                <a:gd name="connsiteY199" fmla="*/ 847847 h 1077197"/>
                <a:gd name="connsiteX200" fmla="*/ 984705 w 1576758"/>
                <a:gd name="connsiteY200" fmla="*/ 887227 h 1077197"/>
                <a:gd name="connsiteX201" fmla="*/ 930370 w 1576758"/>
                <a:gd name="connsiteY201" fmla="*/ 887707 h 1077197"/>
                <a:gd name="connsiteX202" fmla="*/ 928954 w 1576758"/>
                <a:gd name="connsiteY202" fmla="*/ 838215 h 1077197"/>
                <a:gd name="connsiteX203" fmla="*/ 926032 w 1576758"/>
                <a:gd name="connsiteY203" fmla="*/ 812700 h 1077197"/>
                <a:gd name="connsiteX204" fmla="*/ 973053 w 1576758"/>
                <a:gd name="connsiteY204" fmla="*/ 806154 h 1077197"/>
                <a:gd name="connsiteX205" fmla="*/ 980928 w 1576758"/>
                <a:gd name="connsiteY205" fmla="*/ 805683 h 1077197"/>
                <a:gd name="connsiteX206" fmla="*/ 1003111 w 1576758"/>
                <a:gd name="connsiteY206" fmla="*/ 800898 h 1077197"/>
                <a:gd name="connsiteX207" fmla="*/ 1158152 w 1576758"/>
                <a:gd name="connsiteY207" fmla="*/ 778496 h 1077197"/>
                <a:gd name="connsiteX208" fmla="*/ 1156139 w 1576758"/>
                <a:gd name="connsiteY208" fmla="*/ 792681 h 1077197"/>
                <a:gd name="connsiteX209" fmla="*/ 1163809 w 1576758"/>
                <a:gd name="connsiteY209" fmla="*/ 794700 h 1077197"/>
                <a:gd name="connsiteX210" fmla="*/ 1177048 w 1576758"/>
                <a:gd name="connsiteY210" fmla="*/ 777740 h 1077197"/>
                <a:gd name="connsiteX211" fmla="*/ 1232773 w 1576758"/>
                <a:gd name="connsiteY211" fmla="*/ 751815 h 1077197"/>
                <a:gd name="connsiteX212" fmla="*/ 1270555 w 1576758"/>
                <a:gd name="connsiteY212" fmla="*/ 678862 h 1077197"/>
                <a:gd name="connsiteX213" fmla="*/ 1274475 w 1576758"/>
                <a:gd name="connsiteY213" fmla="*/ 737871 h 1077197"/>
                <a:gd name="connsiteX214" fmla="*/ 1246332 w 1576758"/>
                <a:gd name="connsiteY214" fmla="*/ 790191 h 1077197"/>
                <a:gd name="connsiteX215" fmla="*/ 1245664 w 1576758"/>
                <a:gd name="connsiteY215" fmla="*/ 795287 h 1077197"/>
                <a:gd name="connsiteX216" fmla="*/ 1283384 w 1576758"/>
                <a:gd name="connsiteY216" fmla="*/ 763866 h 1077197"/>
                <a:gd name="connsiteX217" fmla="*/ 1287678 w 1576758"/>
                <a:gd name="connsiteY217" fmla="*/ 686466 h 1077197"/>
                <a:gd name="connsiteX218" fmla="*/ 1294858 w 1576758"/>
                <a:gd name="connsiteY218" fmla="*/ 636441 h 1077197"/>
                <a:gd name="connsiteX219" fmla="*/ 1303714 w 1576758"/>
                <a:gd name="connsiteY219" fmla="*/ 662685 h 1077197"/>
                <a:gd name="connsiteX220" fmla="*/ 1311197 w 1576758"/>
                <a:gd name="connsiteY220" fmla="*/ 709998 h 1077197"/>
                <a:gd name="connsiteX221" fmla="*/ 1312061 w 1576758"/>
                <a:gd name="connsiteY221" fmla="*/ 768366 h 1077197"/>
                <a:gd name="connsiteX222" fmla="*/ 1310280 w 1576758"/>
                <a:gd name="connsiteY222" fmla="*/ 788563 h 1077197"/>
                <a:gd name="connsiteX223" fmla="*/ 1318725 w 1576758"/>
                <a:gd name="connsiteY223" fmla="*/ 790787 h 1077197"/>
                <a:gd name="connsiteX224" fmla="*/ 1312872 w 1576758"/>
                <a:gd name="connsiteY224" fmla="*/ 643991 h 1077197"/>
                <a:gd name="connsiteX225" fmla="*/ 1329603 w 1576758"/>
                <a:gd name="connsiteY225" fmla="*/ 610845 h 1077197"/>
                <a:gd name="connsiteX226" fmla="*/ 1343750 w 1576758"/>
                <a:gd name="connsiteY226" fmla="*/ 649896 h 1077197"/>
                <a:gd name="connsiteX227" fmla="*/ 1346664 w 1576758"/>
                <a:gd name="connsiteY227" fmla="*/ 733815 h 1077197"/>
                <a:gd name="connsiteX228" fmla="*/ 1342521 w 1576758"/>
                <a:gd name="connsiteY228" fmla="*/ 773071 h 1077197"/>
                <a:gd name="connsiteX229" fmla="*/ 1352312 w 1576758"/>
                <a:gd name="connsiteY229" fmla="*/ 775721 h 1077197"/>
                <a:gd name="connsiteX230" fmla="*/ 1361648 w 1576758"/>
                <a:gd name="connsiteY230" fmla="*/ 740316 h 1077197"/>
                <a:gd name="connsiteX231" fmla="*/ 1352151 w 1576758"/>
                <a:gd name="connsiteY231" fmla="*/ 623599 h 1077197"/>
                <a:gd name="connsiteX232" fmla="*/ 1378780 w 1576758"/>
                <a:gd name="connsiteY232" fmla="*/ 740005 h 1077197"/>
                <a:gd name="connsiteX233" fmla="*/ 1558775 w 1576758"/>
                <a:gd name="connsiteY233" fmla="*/ 246231 h 1077197"/>
                <a:gd name="connsiteX234" fmla="*/ 1449436 w 1576758"/>
                <a:gd name="connsiteY234" fmla="*/ 609333 h 1077197"/>
                <a:gd name="connsiteX235" fmla="*/ 1429560 w 1576758"/>
                <a:gd name="connsiteY235" fmla="*/ 656006 h 1077197"/>
                <a:gd name="connsiteX236" fmla="*/ 1402353 w 1576758"/>
                <a:gd name="connsiteY236" fmla="*/ 694488 h 1077197"/>
                <a:gd name="connsiteX237" fmla="*/ 1400500 w 1576758"/>
                <a:gd name="connsiteY237" fmla="*/ 698455 h 1077197"/>
                <a:gd name="connsiteX238" fmla="*/ 1396482 w 1576758"/>
                <a:gd name="connsiteY238" fmla="*/ 701301 h 1077197"/>
                <a:gd name="connsiteX239" fmla="*/ 1347706 w 1576758"/>
                <a:gd name="connsiteY239" fmla="*/ 613549 h 1077197"/>
                <a:gd name="connsiteX240" fmla="*/ 1307179 w 1576758"/>
                <a:gd name="connsiteY240" fmla="*/ 631087 h 1077197"/>
                <a:gd name="connsiteX241" fmla="*/ 1296694 w 1576758"/>
                <a:gd name="connsiteY241" fmla="*/ 623919 h 1077197"/>
                <a:gd name="connsiteX242" fmla="*/ 1278716 w 1576758"/>
                <a:gd name="connsiteY242" fmla="*/ 662587 h 1077197"/>
                <a:gd name="connsiteX243" fmla="*/ 1246902 w 1576758"/>
                <a:gd name="connsiteY243" fmla="*/ 705294 h 1077197"/>
                <a:gd name="connsiteX244" fmla="*/ 1220184 w 1576758"/>
                <a:gd name="connsiteY244" fmla="*/ 741961 h 1077197"/>
                <a:gd name="connsiteX245" fmla="*/ 1177983 w 1576758"/>
                <a:gd name="connsiteY245" fmla="*/ 759206 h 1077197"/>
                <a:gd name="connsiteX246" fmla="*/ 1069233 w 1576758"/>
                <a:gd name="connsiteY246" fmla="*/ 775846 h 1077197"/>
                <a:gd name="connsiteX247" fmla="*/ 1018354 w 1576758"/>
                <a:gd name="connsiteY247" fmla="*/ 782276 h 1077197"/>
                <a:gd name="connsiteX248" fmla="*/ 984180 w 1576758"/>
                <a:gd name="connsiteY248" fmla="*/ 785940 h 1077197"/>
                <a:gd name="connsiteX249" fmla="*/ 983369 w 1576758"/>
                <a:gd name="connsiteY249" fmla="*/ 755568 h 1077197"/>
                <a:gd name="connsiteX250" fmla="*/ 982336 w 1576758"/>
                <a:gd name="connsiteY250" fmla="*/ 752580 h 1077197"/>
                <a:gd name="connsiteX251" fmla="*/ 993819 w 1576758"/>
                <a:gd name="connsiteY251" fmla="*/ 718332 h 1077197"/>
                <a:gd name="connsiteX252" fmla="*/ 1084841 w 1576758"/>
                <a:gd name="connsiteY252" fmla="*/ 367209 h 1077197"/>
                <a:gd name="connsiteX253" fmla="*/ 1114632 w 1576758"/>
                <a:gd name="connsiteY253" fmla="*/ 267931 h 1077197"/>
                <a:gd name="connsiteX254" fmla="*/ 1139586 w 1576758"/>
                <a:gd name="connsiteY254" fmla="*/ 230926 h 1077197"/>
                <a:gd name="connsiteX255" fmla="*/ 1173894 w 1576758"/>
                <a:gd name="connsiteY255" fmla="*/ 218048 h 1077197"/>
                <a:gd name="connsiteX256" fmla="*/ 1228577 w 1576758"/>
                <a:gd name="connsiteY256" fmla="*/ 216634 h 1077197"/>
                <a:gd name="connsiteX257" fmla="*/ 1526177 w 1576758"/>
                <a:gd name="connsiteY257" fmla="*/ 212205 h 1077197"/>
                <a:gd name="connsiteX258" fmla="*/ 1548895 w 1576758"/>
                <a:gd name="connsiteY258" fmla="*/ 212392 h 1077197"/>
                <a:gd name="connsiteX259" fmla="*/ 1557037 w 1576758"/>
                <a:gd name="connsiteY259" fmla="*/ 217176 h 1077197"/>
                <a:gd name="connsiteX260" fmla="*/ 1558775 w 1576758"/>
                <a:gd name="connsiteY260" fmla="*/ 246231 h 107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1576758" h="1077197">
                  <a:moveTo>
                    <a:pt x="1575657" y="220903"/>
                  </a:moveTo>
                  <a:cubicBezTo>
                    <a:pt x="1574552" y="214882"/>
                    <a:pt x="1572628" y="207580"/>
                    <a:pt x="1567675" y="203649"/>
                  </a:cubicBezTo>
                  <a:cubicBezTo>
                    <a:pt x="1560895" y="198260"/>
                    <a:pt x="1551915" y="194596"/>
                    <a:pt x="1543220" y="195227"/>
                  </a:cubicBezTo>
                  <a:cubicBezTo>
                    <a:pt x="1422389" y="195601"/>
                    <a:pt x="1301540" y="197993"/>
                    <a:pt x="1180745" y="200777"/>
                  </a:cubicBezTo>
                  <a:cubicBezTo>
                    <a:pt x="1172531" y="200563"/>
                    <a:pt x="1164264" y="202422"/>
                    <a:pt x="1156611" y="205339"/>
                  </a:cubicBezTo>
                  <a:cubicBezTo>
                    <a:pt x="1111594" y="215807"/>
                    <a:pt x="1099416" y="254920"/>
                    <a:pt x="1088422" y="294443"/>
                  </a:cubicBezTo>
                  <a:cubicBezTo>
                    <a:pt x="1060671" y="385040"/>
                    <a:pt x="1037945" y="477008"/>
                    <a:pt x="1014889" y="568877"/>
                  </a:cubicBezTo>
                  <a:cubicBezTo>
                    <a:pt x="993971" y="412886"/>
                    <a:pt x="1010782" y="297600"/>
                    <a:pt x="843972" y="221232"/>
                  </a:cubicBezTo>
                  <a:cubicBezTo>
                    <a:pt x="810626" y="203694"/>
                    <a:pt x="774029" y="193449"/>
                    <a:pt x="740959" y="175395"/>
                  </a:cubicBezTo>
                  <a:cubicBezTo>
                    <a:pt x="726910" y="161423"/>
                    <a:pt x="701118" y="160418"/>
                    <a:pt x="682134" y="166066"/>
                  </a:cubicBezTo>
                  <a:cubicBezTo>
                    <a:pt x="673563" y="149293"/>
                    <a:pt x="668966" y="130670"/>
                    <a:pt x="668378" y="111860"/>
                  </a:cubicBezTo>
                  <a:cubicBezTo>
                    <a:pt x="668263" y="108054"/>
                    <a:pt x="662374" y="105732"/>
                    <a:pt x="660574" y="109752"/>
                  </a:cubicBezTo>
                  <a:cubicBezTo>
                    <a:pt x="642890" y="150004"/>
                    <a:pt x="679007" y="204610"/>
                    <a:pt x="712851" y="226043"/>
                  </a:cubicBezTo>
                  <a:cubicBezTo>
                    <a:pt x="689305" y="253382"/>
                    <a:pt x="645590" y="252759"/>
                    <a:pt x="612386" y="250927"/>
                  </a:cubicBezTo>
                  <a:cubicBezTo>
                    <a:pt x="542639" y="245262"/>
                    <a:pt x="473533" y="223357"/>
                    <a:pt x="413122" y="188166"/>
                  </a:cubicBezTo>
                  <a:cubicBezTo>
                    <a:pt x="410975" y="179379"/>
                    <a:pt x="408685" y="170628"/>
                    <a:pt x="406208" y="161930"/>
                  </a:cubicBezTo>
                  <a:cubicBezTo>
                    <a:pt x="434405" y="134876"/>
                    <a:pt x="451171" y="96279"/>
                    <a:pt x="447626" y="56987"/>
                  </a:cubicBezTo>
                  <a:cubicBezTo>
                    <a:pt x="446067" y="40623"/>
                    <a:pt x="441710" y="14156"/>
                    <a:pt x="431020" y="1581"/>
                  </a:cubicBezTo>
                  <a:cubicBezTo>
                    <a:pt x="427732" y="-1958"/>
                    <a:pt x="422146" y="950"/>
                    <a:pt x="421942" y="5334"/>
                  </a:cubicBezTo>
                  <a:cubicBezTo>
                    <a:pt x="421523" y="14325"/>
                    <a:pt x="425567" y="23548"/>
                    <a:pt x="427287" y="32344"/>
                  </a:cubicBezTo>
                  <a:cubicBezTo>
                    <a:pt x="436213" y="72453"/>
                    <a:pt x="429345" y="112732"/>
                    <a:pt x="400534" y="143209"/>
                  </a:cubicBezTo>
                  <a:cubicBezTo>
                    <a:pt x="398057" y="135552"/>
                    <a:pt x="395420" y="127948"/>
                    <a:pt x="392560" y="120416"/>
                  </a:cubicBezTo>
                  <a:cubicBezTo>
                    <a:pt x="390956" y="116182"/>
                    <a:pt x="386351" y="115978"/>
                    <a:pt x="383999" y="118379"/>
                  </a:cubicBezTo>
                  <a:cubicBezTo>
                    <a:pt x="301494" y="150760"/>
                    <a:pt x="207425" y="157964"/>
                    <a:pt x="133642" y="210488"/>
                  </a:cubicBezTo>
                  <a:cubicBezTo>
                    <a:pt x="15573" y="303487"/>
                    <a:pt x="7492" y="546217"/>
                    <a:pt x="0" y="687213"/>
                  </a:cubicBezTo>
                  <a:cubicBezTo>
                    <a:pt x="641" y="767886"/>
                    <a:pt x="-187" y="869378"/>
                    <a:pt x="38299" y="941504"/>
                  </a:cubicBezTo>
                  <a:cubicBezTo>
                    <a:pt x="55680" y="972667"/>
                    <a:pt x="84937" y="987910"/>
                    <a:pt x="120546" y="988568"/>
                  </a:cubicBezTo>
                  <a:cubicBezTo>
                    <a:pt x="117107" y="1007805"/>
                    <a:pt x="112857" y="1026481"/>
                    <a:pt x="109481" y="1045682"/>
                  </a:cubicBezTo>
                  <a:cubicBezTo>
                    <a:pt x="107958" y="1054584"/>
                    <a:pt x="105508" y="1063344"/>
                    <a:pt x="109561" y="1071766"/>
                  </a:cubicBezTo>
                  <a:cubicBezTo>
                    <a:pt x="113526" y="1080020"/>
                    <a:pt x="124394" y="1077921"/>
                    <a:pt x="128849" y="1071766"/>
                  </a:cubicBezTo>
                  <a:cubicBezTo>
                    <a:pt x="133490" y="1065354"/>
                    <a:pt x="132626" y="1055287"/>
                    <a:pt x="133633" y="1047603"/>
                  </a:cubicBezTo>
                  <a:cubicBezTo>
                    <a:pt x="136101" y="1028037"/>
                    <a:pt x="140564" y="1008801"/>
                    <a:pt x="139139" y="988924"/>
                  </a:cubicBezTo>
                  <a:cubicBezTo>
                    <a:pt x="203407" y="989102"/>
                    <a:pt x="265618" y="969536"/>
                    <a:pt x="325263" y="947445"/>
                  </a:cubicBezTo>
                  <a:cubicBezTo>
                    <a:pt x="373290" y="929782"/>
                    <a:pt x="421015" y="911088"/>
                    <a:pt x="466210" y="886934"/>
                  </a:cubicBezTo>
                  <a:cubicBezTo>
                    <a:pt x="476286" y="940793"/>
                    <a:pt x="478281" y="995985"/>
                    <a:pt x="474130" y="1050564"/>
                  </a:cubicBezTo>
                  <a:cubicBezTo>
                    <a:pt x="473239" y="1061459"/>
                    <a:pt x="490264" y="1061406"/>
                    <a:pt x="491146" y="1050564"/>
                  </a:cubicBezTo>
                  <a:cubicBezTo>
                    <a:pt x="493613" y="1005759"/>
                    <a:pt x="497702" y="921138"/>
                    <a:pt x="476856" y="881295"/>
                  </a:cubicBezTo>
                  <a:cubicBezTo>
                    <a:pt x="495823" y="871112"/>
                    <a:pt x="514620" y="860671"/>
                    <a:pt x="533124" y="849688"/>
                  </a:cubicBezTo>
                  <a:cubicBezTo>
                    <a:pt x="534879" y="848647"/>
                    <a:pt x="535913" y="847313"/>
                    <a:pt x="536376" y="845899"/>
                  </a:cubicBezTo>
                  <a:cubicBezTo>
                    <a:pt x="566238" y="847473"/>
                    <a:pt x="595727" y="840270"/>
                    <a:pt x="625375" y="837673"/>
                  </a:cubicBezTo>
                  <a:cubicBezTo>
                    <a:pt x="677982" y="831705"/>
                    <a:pt x="730794" y="827748"/>
                    <a:pt x="783597" y="823861"/>
                  </a:cubicBezTo>
                  <a:cubicBezTo>
                    <a:pt x="781663" y="838793"/>
                    <a:pt x="783142" y="854739"/>
                    <a:pt x="782741" y="869663"/>
                  </a:cubicBezTo>
                  <a:cubicBezTo>
                    <a:pt x="782269" y="887023"/>
                    <a:pt x="781628" y="904374"/>
                    <a:pt x="781022" y="921725"/>
                  </a:cubicBezTo>
                  <a:cubicBezTo>
                    <a:pt x="780434" y="938614"/>
                    <a:pt x="780176" y="955520"/>
                    <a:pt x="779873" y="972409"/>
                  </a:cubicBezTo>
                  <a:cubicBezTo>
                    <a:pt x="779561" y="989591"/>
                    <a:pt x="777886" y="1007529"/>
                    <a:pt x="780782" y="1024507"/>
                  </a:cubicBezTo>
                  <a:cubicBezTo>
                    <a:pt x="782162" y="1032618"/>
                    <a:pt x="795802" y="1032618"/>
                    <a:pt x="797192" y="1024507"/>
                  </a:cubicBezTo>
                  <a:cubicBezTo>
                    <a:pt x="800034" y="1007947"/>
                    <a:pt x="798724" y="990560"/>
                    <a:pt x="798947" y="973787"/>
                  </a:cubicBezTo>
                  <a:cubicBezTo>
                    <a:pt x="799624" y="939548"/>
                    <a:pt x="800034" y="905299"/>
                    <a:pt x="800087" y="871041"/>
                  </a:cubicBezTo>
                  <a:cubicBezTo>
                    <a:pt x="800140" y="855353"/>
                    <a:pt x="802074" y="838349"/>
                    <a:pt x="799891" y="822679"/>
                  </a:cubicBezTo>
                  <a:cubicBezTo>
                    <a:pt x="836284" y="819993"/>
                    <a:pt x="872694" y="817485"/>
                    <a:pt x="909051" y="814328"/>
                  </a:cubicBezTo>
                  <a:cubicBezTo>
                    <a:pt x="903884" y="828788"/>
                    <a:pt x="905016" y="846433"/>
                    <a:pt x="904552" y="861436"/>
                  </a:cubicBezTo>
                  <a:cubicBezTo>
                    <a:pt x="904027" y="878494"/>
                    <a:pt x="904837" y="895640"/>
                    <a:pt x="905550" y="912680"/>
                  </a:cubicBezTo>
                  <a:cubicBezTo>
                    <a:pt x="906628" y="938391"/>
                    <a:pt x="908339" y="964067"/>
                    <a:pt x="910566" y="989707"/>
                  </a:cubicBezTo>
                  <a:cubicBezTo>
                    <a:pt x="911341" y="998627"/>
                    <a:pt x="911581" y="1007218"/>
                    <a:pt x="916250" y="1015124"/>
                  </a:cubicBezTo>
                  <a:cubicBezTo>
                    <a:pt x="921007" y="1023182"/>
                    <a:pt x="932330" y="1020851"/>
                    <a:pt x="935208" y="1012652"/>
                  </a:cubicBezTo>
                  <a:cubicBezTo>
                    <a:pt x="938023" y="1004621"/>
                    <a:pt x="936704" y="996706"/>
                    <a:pt x="935992" y="988435"/>
                  </a:cubicBezTo>
                  <a:cubicBezTo>
                    <a:pt x="935288" y="980271"/>
                    <a:pt x="934638" y="972106"/>
                    <a:pt x="934041" y="963933"/>
                  </a:cubicBezTo>
                  <a:cubicBezTo>
                    <a:pt x="932348" y="940259"/>
                    <a:pt x="930967" y="916558"/>
                    <a:pt x="930504" y="892821"/>
                  </a:cubicBezTo>
                  <a:cubicBezTo>
                    <a:pt x="949622" y="893791"/>
                    <a:pt x="968313" y="898771"/>
                    <a:pt x="987405" y="899740"/>
                  </a:cubicBezTo>
                  <a:cubicBezTo>
                    <a:pt x="1046773" y="901190"/>
                    <a:pt x="1103496" y="879116"/>
                    <a:pt x="1158589" y="859622"/>
                  </a:cubicBezTo>
                  <a:cubicBezTo>
                    <a:pt x="1173065" y="863499"/>
                    <a:pt x="1188104" y="862486"/>
                    <a:pt x="1202999" y="862397"/>
                  </a:cubicBezTo>
                  <a:cubicBezTo>
                    <a:pt x="1219489" y="862094"/>
                    <a:pt x="1235989" y="861223"/>
                    <a:pt x="1252372" y="859337"/>
                  </a:cubicBezTo>
                  <a:cubicBezTo>
                    <a:pt x="1342842" y="850097"/>
                    <a:pt x="1396063" y="818259"/>
                    <a:pt x="1396491" y="720502"/>
                  </a:cubicBezTo>
                  <a:cubicBezTo>
                    <a:pt x="1407440" y="715254"/>
                    <a:pt x="1418888" y="708051"/>
                    <a:pt x="1423048" y="696071"/>
                  </a:cubicBezTo>
                  <a:cubicBezTo>
                    <a:pt x="1441926" y="673900"/>
                    <a:pt x="1453258" y="647015"/>
                    <a:pt x="1463370" y="620032"/>
                  </a:cubicBezTo>
                  <a:cubicBezTo>
                    <a:pt x="1476448" y="587571"/>
                    <a:pt x="1488929" y="554861"/>
                    <a:pt x="1500671" y="521893"/>
                  </a:cubicBezTo>
                  <a:cubicBezTo>
                    <a:pt x="1529295" y="440233"/>
                    <a:pt x="1555986" y="357275"/>
                    <a:pt x="1571924" y="272111"/>
                  </a:cubicBezTo>
                  <a:cubicBezTo>
                    <a:pt x="1574739" y="255703"/>
                    <a:pt x="1578713" y="237560"/>
                    <a:pt x="1575657" y="220903"/>
                  </a:cubicBezTo>
                  <a:close/>
                  <a:moveTo>
                    <a:pt x="759276" y="207749"/>
                  </a:moveTo>
                  <a:cubicBezTo>
                    <a:pt x="776265" y="218181"/>
                    <a:pt x="794359" y="226070"/>
                    <a:pt x="812417" y="234439"/>
                  </a:cubicBezTo>
                  <a:cubicBezTo>
                    <a:pt x="976696" y="302198"/>
                    <a:pt x="970888" y="398621"/>
                    <a:pt x="986977" y="553571"/>
                  </a:cubicBezTo>
                  <a:cubicBezTo>
                    <a:pt x="990737" y="573350"/>
                    <a:pt x="990532" y="599755"/>
                    <a:pt x="1003405" y="614385"/>
                  </a:cubicBezTo>
                  <a:cubicBezTo>
                    <a:pt x="999886" y="628250"/>
                    <a:pt x="996349" y="642106"/>
                    <a:pt x="992759" y="655944"/>
                  </a:cubicBezTo>
                  <a:cubicBezTo>
                    <a:pt x="979690" y="644836"/>
                    <a:pt x="965124" y="635373"/>
                    <a:pt x="950148" y="626969"/>
                  </a:cubicBezTo>
                  <a:cubicBezTo>
                    <a:pt x="945310" y="558801"/>
                    <a:pt x="945943" y="488534"/>
                    <a:pt x="921310" y="423558"/>
                  </a:cubicBezTo>
                  <a:cubicBezTo>
                    <a:pt x="920303" y="420792"/>
                    <a:pt x="915965" y="421877"/>
                    <a:pt x="916820" y="424794"/>
                  </a:cubicBezTo>
                  <a:cubicBezTo>
                    <a:pt x="935484" y="487724"/>
                    <a:pt x="934246" y="553705"/>
                    <a:pt x="934504" y="618618"/>
                  </a:cubicBezTo>
                  <a:cubicBezTo>
                    <a:pt x="894227" y="598012"/>
                    <a:pt x="846181" y="583356"/>
                    <a:pt x="801931" y="599542"/>
                  </a:cubicBezTo>
                  <a:cubicBezTo>
                    <a:pt x="802074" y="461995"/>
                    <a:pt x="773904" y="325712"/>
                    <a:pt x="739248" y="193173"/>
                  </a:cubicBezTo>
                  <a:cubicBezTo>
                    <a:pt x="745609" y="198464"/>
                    <a:pt x="752229" y="203427"/>
                    <a:pt x="759276" y="207749"/>
                  </a:cubicBezTo>
                  <a:close/>
                  <a:moveTo>
                    <a:pt x="703934" y="196561"/>
                  </a:moveTo>
                  <a:cubicBezTo>
                    <a:pt x="698775" y="191252"/>
                    <a:pt x="694134" y="185498"/>
                    <a:pt x="690000" y="179388"/>
                  </a:cubicBezTo>
                  <a:cubicBezTo>
                    <a:pt x="700530" y="178952"/>
                    <a:pt x="710624" y="178365"/>
                    <a:pt x="720442" y="181807"/>
                  </a:cubicBezTo>
                  <a:cubicBezTo>
                    <a:pt x="721190" y="192399"/>
                    <a:pt x="724032" y="202573"/>
                    <a:pt x="726696" y="212836"/>
                  </a:cubicBezTo>
                  <a:cubicBezTo>
                    <a:pt x="725939" y="213041"/>
                    <a:pt x="725208" y="213343"/>
                    <a:pt x="724522" y="213708"/>
                  </a:cubicBezTo>
                  <a:cubicBezTo>
                    <a:pt x="717538" y="208318"/>
                    <a:pt x="709929" y="203249"/>
                    <a:pt x="703934" y="196561"/>
                  </a:cubicBezTo>
                  <a:close/>
                  <a:moveTo>
                    <a:pt x="448356" y="225919"/>
                  </a:moveTo>
                  <a:cubicBezTo>
                    <a:pt x="521409" y="258718"/>
                    <a:pt x="670490" y="307383"/>
                    <a:pt x="732255" y="236102"/>
                  </a:cubicBezTo>
                  <a:cubicBezTo>
                    <a:pt x="752683" y="327046"/>
                    <a:pt x="770367" y="418880"/>
                    <a:pt x="777868" y="511888"/>
                  </a:cubicBezTo>
                  <a:cubicBezTo>
                    <a:pt x="781325" y="543700"/>
                    <a:pt x="779089" y="576276"/>
                    <a:pt x="782946" y="607768"/>
                  </a:cubicBezTo>
                  <a:cubicBezTo>
                    <a:pt x="683773" y="659021"/>
                    <a:pt x="572296" y="678889"/>
                    <a:pt x="466878" y="713565"/>
                  </a:cubicBezTo>
                  <a:cubicBezTo>
                    <a:pt x="467956" y="544874"/>
                    <a:pt x="454120" y="375595"/>
                    <a:pt x="418280" y="210560"/>
                  </a:cubicBezTo>
                  <a:cubicBezTo>
                    <a:pt x="427875" y="216563"/>
                    <a:pt x="438467" y="221303"/>
                    <a:pt x="448356" y="225919"/>
                  </a:cubicBezTo>
                  <a:close/>
                  <a:moveTo>
                    <a:pt x="35903" y="535731"/>
                  </a:moveTo>
                  <a:cubicBezTo>
                    <a:pt x="49284" y="438330"/>
                    <a:pt x="62611" y="323355"/>
                    <a:pt x="129847" y="246916"/>
                  </a:cubicBezTo>
                  <a:cubicBezTo>
                    <a:pt x="178605" y="198322"/>
                    <a:pt x="250473" y="186369"/>
                    <a:pt x="312808" y="163558"/>
                  </a:cubicBezTo>
                  <a:cubicBezTo>
                    <a:pt x="337387" y="155358"/>
                    <a:pt x="363366" y="147238"/>
                    <a:pt x="384177" y="131354"/>
                  </a:cubicBezTo>
                  <a:cubicBezTo>
                    <a:pt x="398868" y="205046"/>
                    <a:pt x="416917" y="278168"/>
                    <a:pt x="425950" y="352891"/>
                  </a:cubicBezTo>
                  <a:cubicBezTo>
                    <a:pt x="436017" y="428858"/>
                    <a:pt x="441915" y="505449"/>
                    <a:pt x="444864" y="582013"/>
                  </a:cubicBezTo>
                  <a:cubicBezTo>
                    <a:pt x="446557" y="625884"/>
                    <a:pt x="446334" y="669747"/>
                    <a:pt x="447323" y="713618"/>
                  </a:cubicBezTo>
                  <a:cubicBezTo>
                    <a:pt x="447376" y="716064"/>
                    <a:pt x="448151" y="718020"/>
                    <a:pt x="449345" y="719514"/>
                  </a:cubicBezTo>
                  <a:cubicBezTo>
                    <a:pt x="399099" y="737043"/>
                    <a:pt x="346947" y="760122"/>
                    <a:pt x="292692" y="748907"/>
                  </a:cubicBezTo>
                  <a:cubicBezTo>
                    <a:pt x="275230" y="746604"/>
                    <a:pt x="258339" y="741028"/>
                    <a:pt x="240896" y="738724"/>
                  </a:cubicBezTo>
                  <a:cubicBezTo>
                    <a:pt x="242134" y="730267"/>
                    <a:pt x="240700" y="721960"/>
                    <a:pt x="240121" y="713440"/>
                  </a:cubicBezTo>
                  <a:cubicBezTo>
                    <a:pt x="239461" y="703729"/>
                    <a:pt x="239247" y="693990"/>
                    <a:pt x="239114" y="684261"/>
                  </a:cubicBezTo>
                  <a:cubicBezTo>
                    <a:pt x="239078" y="628988"/>
                    <a:pt x="231541" y="573324"/>
                    <a:pt x="239987" y="518344"/>
                  </a:cubicBezTo>
                  <a:cubicBezTo>
                    <a:pt x="240887" y="512661"/>
                    <a:pt x="232566" y="510056"/>
                    <a:pt x="231140" y="515908"/>
                  </a:cubicBezTo>
                  <a:cubicBezTo>
                    <a:pt x="222312" y="552202"/>
                    <a:pt x="221982" y="589794"/>
                    <a:pt x="222677" y="626942"/>
                  </a:cubicBezTo>
                  <a:cubicBezTo>
                    <a:pt x="223791" y="659368"/>
                    <a:pt x="221902" y="691856"/>
                    <a:pt x="223995" y="724246"/>
                  </a:cubicBezTo>
                  <a:cubicBezTo>
                    <a:pt x="189278" y="715050"/>
                    <a:pt x="154239" y="719167"/>
                    <a:pt x="119192" y="722654"/>
                  </a:cubicBezTo>
                  <a:cubicBezTo>
                    <a:pt x="87405" y="725464"/>
                    <a:pt x="54389" y="728319"/>
                    <a:pt x="25675" y="743536"/>
                  </a:cubicBezTo>
                  <a:cubicBezTo>
                    <a:pt x="23484" y="674309"/>
                    <a:pt x="28499" y="604060"/>
                    <a:pt x="35903" y="535731"/>
                  </a:cubicBezTo>
                  <a:close/>
                  <a:moveTo>
                    <a:pt x="48215" y="903360"/>
                  </a:moveTo>
                  <a:cubicBezTo>
                    <a:pt x="41685" y="884924"/>
                    <a:pt x="37925" y="864736"/>
                    <a:pt x="35039" y="846495"/>
                  </a:cubicBezTo>
                  <a:cubicBezTo>
                    <a:pt x="30718" y="819183"/>
                    <a:pt x="28001" y="791454"/>
                    <a:pt x="26522" y="763510"/>
                  </a:cubicBezTo>
                  <a:cubicBezTo>
                    <a:pt x="57480" y="740370"/>
                    <a:pt x="111904" y="741339"/>
                    <a:pt x="149615" y="736759"/>
                  </a:cubicBezTo>
                  <a:cubicBezTo>
                    <a:pt x="171692" y="734829"/>
                    <a:pt x="194284" y="734580"/>
                    <a:pt x="215906" y="740005"/>
                  </a:cubicBezTo>
                  <a:cubicBezTo>
                    <a:pt x="201474" y="751291"/>
                    <a:pt x="184948" y="759482"/>
                    <a:pt x="169767" y="769673"/>
                  </a:cubicBezTo>
                  <a:cubicBezTo>
                    <a:pt x="150595" y="782391"/>
                    <a:pt x="134613" y="798906"/>
                    <a:pt x="118399" y="815075"/>
                  </a:cubicBezTo>
                  <a:cubicBezTo>
                    <a:pt x="91868" y="841746"/>
                    <a:pt x="65810" y="869832"/>
                    <a:pt x="48215" y="903360"/>
                  </a:cubicBezTo>
                  <a:close/>
                  <a:moveTo>
                    <a:pt x="359677" y="907406"/>
                  </a:moveTo>
                  <a:cubicBezTo>
                    <a:pt x="283640" y="935510"/>
                    <a:pt x="164404" y="984753"/>
                    <a:pt x="84919" y="954524"/>
                  </a:cubicBezTo>
                  <a:cubicBezTo>
                    <a:pt x="71191" y="946618"/>
                    <a:pt x="61507" y="932886"/>
                    <a:pt x="54424" y="918390"/>
                  </a:cubicBezTo>
                  <a:cubicBezTo>
                    <a:pt x="74264" y="882327"/>
                    <a:pt x="102185" y="851742"/>
                    <a:pt x="131299" y="822963"/>
                  </a:cubicBezTo>
                  <a:cubicBezTo>
                    <a:pt x="147629" y="806777"/>
                    <a:pt x="163540" y="790867"/>
                    <a:pt x="183095" y="778540"/>
                  </a:cubicBezTo>
                  <a:cubicBezTo>
                    <a:pt x="192253" y="772768"/>
                    <a:pt x="201670" y="767397"/>
                    <a:pt x="210775" y="761527"/>
                  </a:cubicBezTo>
                  <a:cubicBezTo>
                    <a:pt x="217795" y="757000"/>
                    <a:pt x="227372" y="751655"/>
                    <a:pt x="233225" y="744816"/>
                  </a:cubicBezTo>
                  <a:cubicBezTo>
                    <a:pt x="235773" y="745208"/>
                    <a:pt x="238561" y="744283"/>
                    <a:pt x="239933" y="742122"/>
                  </a:cubicBezTo>
                  <a:cubicBezTo>
                    <a:pt x="274821" y="761047"/>
                    <a:pt x="315766" y="768553"/>
                    <a:pt x="355143" y="762763"/>
                  </a:cubicBezTo>
                  <a:cubicBezTo>
                    <a:pt x="383999" y="758041"/>
                    <a:pt x="411393" y="747360"/>
                    <a:pt x="438851" y="737701"/>
                  </a:cubicBezTo>
                  <a:cubicBezTo>
                    <a:pt x="524714" y="706939"/>
                    <a:pt x="614818" y="689606"/>
                    <a:pt x="700219" y="657563"/>
                  </a:cubicBezTo>
                  <a:cubicBezTo>
                    <a:pt x="725253" y="648056"/>
                    <a:pt x="750821" y="640674"/>
                    <a:pt x="774483" y="627983"/>
                  </a:cubicBezTo>
                  <a:cubicBezTo>
                    <a:pt x="850271" y="578464"/>
                    <a:pt x="924321" y="619712"/>
                    <a:pt x="990692" y="663877"/>
                  </a:cubicBezTo>
                  <a:cubicBezTo>
                    <a:pt x="988278" y="673135"/>
                    <a:pt x="985828" y="682393"/>
                    <a:pt x="983369" y="691642"/>
                  </a:cubicBezTo>
                  <a:cubicBezTo>
                    <a:pt x="958504" y="665869"/>
                    <a:pt x="930825" y="636699"/>
                    <a:pt x="892846" y="634742"/>
                  </a:cubicBezTo>
                  <a:cubicBezTo>
                    <a:pt x="876142" y="634013"/>
                    <a:pt x="859696" y="637348"/>
                    <a:pt x="843144" y="638975"/>
                  </a:cubicBezTo>
                  <a:cubicBezTo>
                    <a:pt x="839473" y="639340"/>
                    <a:pt x="839437" y="644382"/>
                    <a:pt x="843144" y="644712"/>
                  </a:cubicBezTo>
                  <a:cubicBezTo>
                    <a:pt x="858146" y="646028"/>
                    <a:pt x="873211" y="646099"/>
                    <a:pt x="888222" y="647148"/>
                  </a:cubicBezTo>
                  <a:cubicBezTo>
                    <a:pt x="931110" y="650003"/>
                    <a:pt x="950896" y="681477"/>
                    <a:pt x="979039" y="707837"/>
                  </a:cubicBezTo>
                  <a:cubicBezTo>
                    <a:pt x="977400" y="713867"/>
                    <a:pt x="975912" y="719950"/>
                    <a:pt x="974193" y="725927"/>
                  </a:cubicBezTo>
                  <a:cubicBezTo>
                    <a:pt x="950433" y="698882"/>
                    <a:pt x="895848" y="668039"/>
                    <a:pt x="860008" y="680890"/>
                  </a:cubicBezTo>
                  <a:cubicBezTo>
                    <a:pt x="837264" y="675848"/>
                    <a:pt x="813531" y="676532"/>
                    <a:pt x="791401" y="684812"/>
                  </a:cubicBezTo>
                  <a:cubicBezTo>
                    <a:pt x="790323" y="685221"/>
                    <a:pt x="790376" y="687000"/>
                    <a:pt x="791695" y="686955"/>
                  </a:cubicBezTo>
                  <a:cubicBezTo>
                    <a:pt x="845112" y="683540"/>
                    <a:pt x="900552" y="698170"/>
                    <a:pt x="933907" y="742486"/>
                  </a:cubicBezTo>
                  <a:cubicBezTo>
                    <a:pt x="921702" y="739969"/>
                    <a:pt x="910227" y="734909"/>
                    <a:pt x="898966" y="729715"/>
                  </a:cubicBezTo>
                  <a:cubicBezTo>
                    <a:pt x="866485" y="712746"/>
                    <a:pt x="830929" y="703684"/>
                    <a:pt x="796185" y="720181"/>
                  </a:cubicBezTo>
                  <a:cubicBezTo>
                    <a:pt x="776799" y="728995"/>
                    <a:pt x="758839" y="740610"/>
                    <a:pt x="739409" y="749352"/>
                  </a:cubicBezTo>
                  <a:cubicBezTo>
                    <a:pt x="715613" y="760051"/>
                    <a:pt x="692504" y="761260"/>
                    <a:pt x="667550" y="753914"/>
                  </a:cubicBezTo>
                  <a:cubicBezTo>
                    <a:pt x="664209" y="752936"/>
                    <a:pt x="662472" y="757561"/>
                    <a:pt x="665251" y="759366"/>
                  </a:cubicBezTo>
                  <a:cubicBezTo>
                    <a:pt x="668236" y="761296"/>
                    <a:pt x="671238" y="762914"/>
                    <a:pt x="674249" y="764311"/>
                  </a:cubicBezTo>
                  <a:cubicBezTo>
                    <a:pt x="661376" y="772840"/>
                    <a:pt x="647906" y="779341"/>
                    <a:pt x="634667" y="787229"/>
                  </a:cubicBezTo>
                  <a:cubicBezTo>
                    <a:pt x="592760" y="792690"/>
                    <a:pt x="550977" y="799075"/>
                    <a:pt x="509337" y="806323"/>
                  </a:cubicBezTo>
                  <a:cubicBezTo>
                    <a:pt x="502389" y="807533"/>
                    <a:pt x="503279" y="816844"/>
                    <a:pt x="508553" y="819424"/>
                  </a:cubicBezTo>
                  <a:cubicBezTo>
                    <a:pt x="510264" y="827561"/>
                    <a:pt x="514897" y="834107"/>
                    <a:pt x="520883" y="839718"/>
                  </a:cubicBezTo>
                  <a:cubicBezTo>
                    <a:pt x="467377" y="862868"/>
                    <a:pt x="414324" y="887049"/>
                    <a:pt x="359677" y="907406"/>
                  </a:cubicBezTo>
                  <a:close/>
                  <a:moveTo>
                    <a:pt x="954273" y="746061"/>
                  </a:moveTo>
                  <a:cubicBezTo>
                    <a:pt x="941043" y="723463"/>
                    <a:pt x="918833" y="706014"/>
                    <a:pt x="895946" y="693946"/>
                  </a:cubicBezTo>
                  <a:cubicBezTo>
                    <a:pt x="913613" y="698606"/>
                    <a:pt x="930388" y="707811"/>
                    <a:pt x="944794" y="719123"/>
                  </a:cubicBezTo>
                  <a:cubicBezTo>
                    <a:pt x="953498" y="725847"/>
                    <a:pt x="960349" y="734358"/>
                    <a:pt x="968812" y="741241"/>
                  </a:cubicBezTo>
                  <a:cubicBezTo>
                    <a:pt x="966968" y="745492"/>
                    <a:pt x="964785" y="749601"/>
                    <a:pt x="962086" y="753505"/>
                  </a:cubicBezTo>
                  <a:cubicBezTo>
                    <a:pt x="959101" y="753843"/>
                    <a:pt x="956126" y="754172"/>
                    <a:pt x="953141" y="754510"/>
                  </a:cubicBezTo>
                  <a:cubicBezTo>
                    <a:pt x="953391" y="754092"/>
                    <a:pt x="953587" y="753648"/>
                    <a:pt x="953729" y="753194"/>
                  </a:cubicBezTo>
                  <a:cubicBezTo>
                    <a:pt x="955146" y="751211"/>
                    <a:pt x="955645" y="748551"/>
                    <a:pt x="954273" y="746061"/>
                  </a:cubicBezTo>
                  <a:close/>
                  <a:moveTo>
                    <a:pt x="785102" y="771461"/>
                  </a:moveTo>
                  <a:cubicBezTo>
                    <a:pt x="780826" y="771808"/>
                    <a:pt x="760558" y="773222"/>
                    <a:pt x="737217" y="775481"/>
                  </a:cubicBezTo>
                  <a:cubicBezTo>
                    <a:pt x="710321" y="778087"/>
                    <a:pt x="679354" y="781662"/>
                    <a:pt x="664111" y="783512"/>
                  </a:cubicBezTo>
                  <a:cubicBezTo>
                    <a:pt x="671051" y="779581"/>
                    <a:pt x="680699" y="775027"/>
                    <a:pt x="686009" y="768464"/>
                  </a:cubicBezTo>
                  <a:cubicBezTo>
                    <a:pt x="706018" y="773444"/>
                    <a:pt x="726313" y="768473"/>
                    <a:pt x="745805" y="760220"/>
                  </a:cubicBezTo>
                  <a:cubicBezTo>
                    <a:pt x="746456" y="759944"/>
                    <a:pt x="755846" y="755684"/>
                    <a:pt x="756442" y="755399"/>
                  </a:cubicBezTo>
                  <a:cubicBezTo>
                    <a:pt x="757939" y="754679"/>
                    <a:pt x="759427" y="753950"/>
                    <a:pt x="760906" y="753203"/>
                  </a:cubicBezTo>
                  <a:cubicBezTo>
                    <a:pt x="768487" y="756707"/>
                    <a:pt x="776710" y="759206"/>
                    <a:pt x="785182" y="760753"/>
                  </a:cubicBezTo>
                  <a:cubicBezTo>
                    <a:pt x="785120" y="761171"/>
                    <a:pt x="785076" y="761598"/>
                    <a:pt x="785076" y="762043"/>
                  </a:cubicBezTo>
                  <a:cubicBezTo>
                    <a:pt x="785076" y="765067"/>
                    <a:pt x="785076" y="768082"/>
                    <a:pt x="785076" y="771105"/>
                  </a:cubicBezTo>
                  <a:cubicBezTo>
                    <a:pt x="785085" y="771221"/>
                    <a:pt x="785093" y="771337"/>
                    <a:pt x="785102" y="771461"/>
                  </a:cubicBezTo>
                  <a:close/>
                  <a:moveTo>
                    <a:pt x="772692" y="747093"/>
                  </a:moveTo>
                  <a:cubicBezTo>
                    <a:pt x="801290" y="730356"/>
                    <a:pt x="834199" y="716446"/>
                    <a:pt x="866903" y="730338"/>
                  </a:cubicBezTo>
                  <a:cubicBezTo>
                    <a:pt x="829353" y="749281"/>
                    <a:pt x="815473" y="754181"/>
                    <a:pt x="772692" y="747093"/>
                  </a:cubicBezTo>
                  <a:close/>
                  <a:moveTo>
                    <a:pt x="801967" y="762550"/>
                  </a:moveTo>
                  <a:cubicBezTo>
                    <a:pt x="812604" y="762914"/>
                    <a:pt x="823268" y="761838"/>
                    <a:pt x="833237" y="759348"/>
                  </a:cubicBezTo>
                  <a:cubicBezTo>
                    <a:pt x="844997" y="756182"/>
                    <a:pt x="855669" y="750081"/>
                    <a:pt x="866743" y="745181"/>
                  </a:cubicBezTo>
                  <a:cubicBezTo>
                    <a:pt x="872926" y="742344"/>
                    <a:pt x="879536" y="741054"/>
                    <a:pt x="885710" y="738297"/>
                  </a:cubicBezTo>
                  <a:cubicBezTo>
                    <a:pt x="900303" y="744905"/>
                    <a:pt x="916027" y="753639"/>
                    <a:pt x="932776" y="756787"/>
                  </a:cubicBezTo>
                  <a:cubicBezTo>
                    <a:pt x="889274" y="762256"/>
                    <a:pt x="845647" y="766401"/>
                    <a:pt x="801976" y="770065"/>
                  </a:cubicBezTo>
                  <a:cubicBezTo>
                    <a:pt x="801967" y="767566"/>
                    <a:pt x="801967" y="765058"/>
                    <a:pt x="801967" y="762550"/>
                  </a:cubicBezTo>
                  <a:close/>
                  <a:moveTo>
                    <a:pt x="810038" y="807915"/>
                  </a:moveTo>
                  <a:cubicBezTo>
                    <a:pt x="731008" y="814630"/>
                    <a:pt x="651772" y="819023"/>
                    <a:pt x="573187" y="830282"/>
                  </a:cubicBezTo>
                  <a:cubicBezTo>
                    <a:pt x="564510" y="831403"/>
                    <a:pt x="555770" y="832328"/>
                    <a:pt x="547004" y="832390"/>
                  </a:cubicBezTo>
                  <a:cubicBezTo>
                    <a:pt x="542461" y="832417"/>
                    <a:pt x="537445" y="831252"/>
                    <a:pt x="533044" y="832017"/>
                  </a:cubicBezTo>
                  <a:cubicBezTo>
                    <a:pt x="528393" y="828308"/>
                    <a:pt x="524108" y="823790"/>
                    <a:pt x="522496" y="818143"/>
                  </a:cubicBezTo>
                  <a:cubicBezTo>
                    <a:pt x="557615" y="812122"/>
                    <a:pt x="592822" y="806652"/>
                    <a:pt x="628128" y="801832"/>
                  </a:cubicBezTo>
                  <a:cubicBezTo>
                    <a:pt x="630008" y="802997"/>
                    <a:pt x="632458" y="802437"/>
                    <a:pt x="634302" y="801014"/>
                  </a:cubicBezTo>
                  <a:cubicBezTo>
                    <a:pt x="743632" y="785024"/>
                    <a:pt x="854698" y="783752"/>
                    <a:pt x="963502" y="763973"/>
                  </a:cubicBezTo>
                  <a:cubicBezTo>
                    <a:pt x="965836" y="765796"/>
                    <a:pt x="969124" y="766614"/>
                    <a:pt x="972108" y="765698"/>
                  </a:cubicBezTo>
                  <a:cubicBezTo>
                    <a:pt x="971877" y="774378"/>
                    <a:pt x="971645" y="783058"/>
                    <a:pt x="971413" y="791738"/>
                  </a:cubicBezTo>
                  <a:cubicBezTo>
                    <a:pt x="970905" y="792156"/>
                    <a:pt x="970478" y="792610"/>
                    <a:pt x="970113" y="793090"/>
                  </a:cubicBezTo>
                  <a:cubicBezTo>
                    <a:pt x="917577" y="801788"/>
                    <a:pt x="863144" y="802980"/>
                    <a:pt x="810038" y="807915"/>
                  </a:cubicBezTo>
                  <a:close/>
                  <a:moveTo>
                    <a:pt x="1378780" y="740005"/>
                  </a:moveTo>
                  <a:cubicBezTo>
                    <a:pt x="1376170" y="771354"/>
                    <a:pt x="1365942" y="802882"/>
                    <a:pt x="1337380" y="819468"/>
                  </a:cubicBezTo>
                  <a:cubicBezTo>
                    <a:pt x="1290413" y="844921"/>
                    <a:pt x="1234145" y="844983"/>
                    <a:pt x="1182001" y="845499"/>
                  </a:cubicBezTo>
                  <a:cubicBezTo>
                    <a:pt x="1173092" y="846522"/>
                    <a:pt x="1151488" y="836712"/>
                    <a:pt x="1148530" y="847847"/>
                  </a:cubicBezTo>
                  <a:cubicBezTo>
                    <a:pt x="1095817" y="866666"/>
                    <a:pt x="1041455" y="887423"/>
                    <a:pt x="984705" y="887227"/>
                  </a:cubicBezTo>
                  <a:cubicBezTo>
                    <a:pt x="966317" y="886542"/>
                    <a:pt x="948375" y="883029"/>
                    <a:pt x="930370" y="887707"/>
                  </a:cubicBezTo>
                  <a:cubicBezTo>
                    <a:pt x="930130" y="871201"/>
                    <a:pt x="929266" y="854722"/>
                    <a:pt x="928954" y="838215"/>
                  </a:cubicBezTo>
                  <a:cubicBezTo>
                    <a:pt x="928749" y="829918"/>
                    <a:pt x="929078" y="820508"/>
                    <a:pt x="926032" y="812700"/>
                  </a:cubicBezTo>
                  <a:cubicBezTo>
                    <a:pt x="941649" y="810619"/>
                    <a:pt x="957783" y="810299"/>
                    <a:pt x="973053" y="806154"/>
                  </a:cubicBezTo>
                  <a:cubicBezTo>
                    <a:pt x="975271" y="807408"/>
                    <a:pt x="978068" y="807551"/>
                    <a:pt x="980928" y="805683"/>
                  </a:cubicBezTo>
                  <a:cubicBezTo>
                    <a:pt x="988108" y="801023"/>
                    <a:pt x="994897" y="801539"/>
                    <a:pt x="1003111" y="800898"/>
                  </a:cubicBezTo>
                  <a:cubicBezTo>
                    <a:pt x="1055041" y="795358"/>
                    <a:pt x="1106721" y="787647"/>
                    <a:pt x="1158152" y="778496"/>
                  </a:cubicBezTo>
                  <a:cubicBezTo>
                    <a:pt x="1156121" y="782809"/>
                    <a:pt x="1155239" y="787558"/>
                    <a:pt x="1156139" y="792681"/>
                  </a:cubicBezTo>
                  <a:cubicBezTo>
                    <a:pt x="1156718" y="795980"/>
                    <a:pt x="1161671" y="797208"/>
                    <a:pt x="1163809" y="794700"/>
                  </a:cubicBezTo>
                  <a:cubicBezTo>
                    <a:pt x="1168495" y="789212"/>
                    <a:pt x="1171667" y="782685"/>
                    <a:pt x="1177048" y="777740"/>
                  </a:cubicBezTo>
                  <a:cubicBezTo>
                    <a:pt x="1192879" y="764088"/>
                    <a:pt x="1215231" y="762514"/>
                    <a:pt x="1232773" y="751815"/>
                  </a:cubicBezTo>
                  <a:cubicBezTo>
                    <a:pt x="1261958" y="734171"/>
                    <a:pt x="1258136" y="705249"/>
                    <a:pt x="1270555" y="678862"/>
                  </a:cubicBezTo>
                  <a:cubicBezTo>
                    <a:pt x="1276551" y="697868"/>
                    <a:pt x="1275874" y="718225"/>
                    <a:pt x="1274475" y="737871"/>
                  </a:cubicBezTo>
                  <a:cubicBezTo>
                    <a:pt x="1272346" y="756707"/>
                    <a:pt x="1269896" y="787380"/>
                    <a:pt x="1246332" y="790191"/>
                  </a:cubicBezTo>
                  <a:cubicBezTo>
                    <a:pt x="1243739" y="790582"/>
                    <a:pt x="1243900" y="794086"/>
                    <a:pt x="1245664" y="795287"/>
                  </a:cubicBezTo>
                  <a:cubicBezTo>
                    <a:pt x="1264622" y="808173"/>
                    <a:pt x="1279286" y="777188"/>
                    <a:pt x="1283384" y="763866"/>
                  </a:cubicBezTo>
                  <a:cubicBezTo>
                    <a:pt x="1290992" y="739107"/>
                    <a:pt x="1291999" y="711919"/>
                    <a:pt x="1287678" y="686466"/>
                  </a:cubicBezTo>
                  <a:cubicBezTo>
                    <a:pt x="1289246" y="669720"/>
                    <a:pt x="1289878" y="652582"/>
                    <a:pt x="1294858" y="636441"/>
                  </a:cubicBezTo>
                  <a:cubicBezTo>
                    <a:pt x="1300916" y="643573"/>
                    <a:pt x="1301798" y="653809"/>
                    <a:pt x="1303714" y="662685"/>
                  </a:cubicBezTo>
                  <a:cubicBezTo>
                    <a:pt x="1306413" y="678391"/>
                    <a:pt x="1309122" y="694212"/>
                    <a:pt x="1311197" y="709998"/>
                  </a:cubicBezTo>
                  <a:cubicBezTo>
                    <a:pt x="1313781" y="729324"/>
                    <a:pt x="1314556" y="748987"/>
                    <a:pt x="1312061" y="768366"/>
                  </a:cubicBezTo>
                  <a:cubicBezTo>
                    <a:pt x="1311197" y="775045"/>
                    <a:pt x="1308560" y="781902"/>
                    <a:pt x="1310280" y="788563"/>
                  </a:cubicBezTo>
                  <a:cubicBezTo>
                    <a:pt x="1311215" y="792183"/>
                    <a:pt x="1316124" y="793535"/>
                    <a:pt x="1318725" y="790787"/>
                  </a:cubicBezTo>
                  <a:cubicBezTo>
                    <a:pt x="1337951" y="761749"/>
                    <a:pt x="1320454" y="678356"/>
                    <a:pt x="1312872" y="643991"/>
                  </a:cubicBezTo>
                  <a:cubicBezTo>
                    <a:pt x="1316970" y="639295"/>
                    <a:pt x="1319732" y="606336"/>
                    <a:pt x="1329603" y="610845"/>
                  </a:cubicBezTo>
                  <a:cubicBezTo>
                    <a:pt x="1336989" y="615754"/>
                    <a:pt x="1341550" y="640834"/>
                    <a:pt x="1343750" y="649896"/>
                  </a:cubicBezTo>
                  <a:cubicBezTo>
                    <a:pt x="1350058" y="677457"/>
                    <a:pt x="1351305" y="705854"/>
                    <a:pt x="1346664" y="733815"/>
                  </a:cubicBezTo>
                  <a:cubicBezTo>
                    <a:pt x="1344739" y="746933"/>
                    <a:pt x="1341443" y="759748"/>
                    <a:pt x="1342521" y="773071"/>
                  </a:cubicBezTo>
                  <a:cubicBezTo>
                    <a:pt x="1342904" y="777811"/>
                    <a:pt x="1349782" y="780764"/>
                    <a:pt x="1352312" y="775721"/>
                  </a:cubicBezTo>
                  <a:cubicBezTo>
                    <a:pt x="1357942" y="764471"/>
                    <a:pt x="1359813" y="752660"/>
                    <a:pt x="1361648" y="740316"/>
                  </a:cubicBezTo>
                  <a:cubicBezTo>
                    <a:pt x="1368490" y="701283"/>
                    <a:pt x="1365310" y="661031"/>
                    <a:pt x="1352151" y="623599"/>
                  </a:cubicBezTo>
                  <a:cubicBezTo>
                    <a:pt x="1384188" y="621811"/>
                    <a:pt x="1380802" y="718038"/>
                    <a:pt x="1378780" y="740005"/>
                  </a:cubicBezTo>
                  <a:close/>
                  <a:moveTo>
                    <a:pt x="1558775" y="246231"/>
                  </a:moveTo>
                  <a:cubicBezTo>
                    <a:pt x="1539335" y="371380"/>
                    <a:pt x="1494853" y="491584"/>
                    <a:pt x="1449436" y="609333"/>
                  </a:cubicBezTo>
                  <a:cubicBezTo>
                    <a:pt x="1443191" y="624941"/>
                    <a:pt x="1437534" y="641181"/>
                    <a:pt x="1429560" y="656006"/>
                  </a:cubicBezTo>
                  <a:cubicBezTo>
                    <a:pt x="1422077" y="669925"/>
                    <a:pt x="1412634" y="682535"/>
                    <a:pt x="1402353" y="694488"/>
                  </a:cubicBezTo>
                  <a:cubicBezTo>
                    <a:pt x="1401337" y="695671"/>
                    <a:pt x="1400749" y="697041"/>
                    <a:pt x="1400500" y="698455"/>
                  </a:cubicBezTo>
                  <a:cubicBezTo>
                    <a:pt x="1399235" y="699486"/>
                    <a:pt x="1397889" y="700420"/>
                    <a:pt x="1396482" y="701301"/>
                  </a:cubicBezTo>
                  <a:cubicBezTo>
                    <a:pt x="1395707" y="675643"/>
                    <a:pt x="1388535" y="596509"/>
                    <a:pt x="1347706" y="613549"/>
                  </a:cubicBezTo>
                  <a:cubicBezTo>
                    <a:pt x="1330948" y="584183"/>
                    <a:pt x="1308124" y="603188"/>
                    <a:pt x="1307179" y="631087"/>
                  </a:cubicBezTo>
                  <a:cubicBezTo>
                    <a:pt x="1304587" y="627387"/>
                    <a:pt x="1301202" y="624657"/>
                    <a:pt x="1296694" y="623919"/>
                  </a:cubicBezTo>
                  <a:cubicBezTo>
                    <a:pt x="1279054" y="621402"/>
                    <a:pt x="1281050" y="651168"/>
                    <a:pt x="1278716" y="662587"/>
                  </a:cubicBezTo>
                  <a:cubicBezTo>
                    <a:pt x="1261655" y="643084"/>
                    <a:pt x="1249459" y="694284"/>
                    <a:pt x="1246902" y="705294"/>
                  </a:cubicBezTo>
                  <a:cubicBezTo>
                    <a:pt x="1242653" y="721489"/>
                    <a:pt x="1235766" y="734438"/>
                    <a:pt x="1220184" y="741961"/>
                  </a:cubicBezTo>
                  <a:cubicBezTo>
                    <a:pt x="1206491" y="748578"/>
                    <a:pt x="1191293" y="751673"/>
                    <a:pt x="1177983" y="759206"/>
                  </a:cubicBezTo>
                  <a:cubicBezTo>
                    <a:pt x="1141911" y="761883"/>
                    <a:pt x="1105536" y="771737"/>
                    <a:pt x="1069233" y="775846"/>
                  </a:cubicBezTo>
                  <a:cubicBezTo>
                    <a:pt x="1052306" y="778318"/>
                    <a:pt x="1035317" y="780079"/>
                    <a:pt x="1018354" y="782276"/>
                  </a:cubicBezTo>
                  <a:cubicBezTo>
                    <a:pt x="1007102" y="783734"/>
                    <a:pt x="995102" y="783058"/>
                    <a:pt x="984180" y="785940"/>
                  </a:cubicBezTo>
                  <a:cubicBezTo>
                    <a:pt x="983912" y="775819"/>
                    <a:pt x="983636" y="765689"/>
                    <a:pt x="983369" y="755568"/>
                  </a:cubicBezTo>
                  <a:cubicBezTo>
                    <a:pt x="983342" y="754457"/>
                    <a:pt x="982950" y="753434"/>
                    <a:pt x="982336" y="752580"/>
                  </a:cubicBezTo>
                  <a:cubicBezTo>
                    <a:pt x="987663" y="741793"/>
                    <a:pt x="990621" y="730062"/>
                    <a:pt x="993819" y="718332"/>
                  </a:cubicBezTo>
                  <a:cubicBezTo>
                    <a:pt x="1025606" y="601667"/>
                    <a:pt x="1052163" y="483633"/>
                    <a:pt x="1084841" y="367209"/>
                  </a:cubicBezTo>
                  <a:cubicBezTo>
                    <a:pt x="1094151" y="334045"/>
                    <a:pt x="1103095" y="300401"/>
                    <a:pt x="1114632" y="267931"/>
                  </a:cubicBezTo>
                  <a:cubicBezTo>
                    <a:pt x="1119594" y="253969"/>
                    <a:pt x="1126757" y="239241"/>
                    <a:pt x="1139586" y="230926"/>
                  </a:cubicBezTo>
                  <a:cubicBezTo>
                    <a:pt x="1149778" y="225127"/>
                    <a:pt x="1162722" y="220849"/>
                    <a:pt x="1173894" y="218048"/>
                  </a:cubicBezTo>
                  <a:cubicBezTo>
                    <a:pt x="1192041" y="216901"/>
                    <a:pt x="1210367" y="217310"/>
                    <a:pt x="1228577" y="216634"/>
                  </a:cubicBezTo>
                  <a:cubicBezTo>
                    <a:pt x="1327768" y="214668"/>
                    <a:pt x="1426968" y="212890"/>
                    <a:pt x="1526177" y="212205"/>
                  </a:cubicBezTo>
                  <a:cubicBezTo>
                    <a:pt x="1533616" y="212054"/>
                    <a:pt x="1541527" y="211618"/>
                    <a:pt x="1548895" y="212392"/>
                  </a:cubicBezTo>
                  <a:cubicBezTo>
                    <a:pt x="1551478" y="213272"/>
                    <a:pt x="1554846" y="215664"/>
                    <a:pt x="1557037" y="217176"/>
                  </a:cubicBezTo>
                  <a:cubicBezTo>
                    <a:pt x="1560708" y="226337"/>
                    <a:pt x="1559942" y="236706"/>
                    <a:pt x="1558775" y="246231"/>
                  </a:cubicBezTo>
                  <a:close/>
                </a:path>
              </a:pathLst>
            </a:custGeom>
            <a:solidFill>
              <a:srgbClr val="16180A"/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9A87B0C2-D2AC-525E-0B66-FED7D9080ED4}"/>
                </a:ext>
              </a:extLst>
            </p:cNvPr>
            <p:cNvSpPr/>
            <p:nvPr/>
          </p:nvSpPr>
          <p:spPr>
            <a:xfrm>
              <a:off x="6026740" y="3665847"/>
              <a:ext cx="194683" cy="49135"/>
            </a:xfrm>
            <a:custGeom>
              <a:avLst/>
              <a:gdLst>
                <a:gd name="connsiteX0" fmla="*/ 13247 w 194683"/>
                <a:gd name="connsiteY0" fmla="*/ 22277 h 49135"/>
                <a:gd name="connsiteX1" fmla="*/ 190827 w 194683"/>
                <a:gd name="connsiteY1" fmla="*/ 29391 h 49135"/>
                <a:gd name="connsiteX2" fmla="*/ 184422 w 194683"/>
                <a:gd name="connsiteY2" fmla="*/ 14228 h 49135"/>
                <a:gd name="connsiteX3" fmla="*/ 85685 w 194683"/>
                <a:gd name="connsiteY3" fmla="*/ 29934 h 49135"/>
                <a:gd name="connsiteX4" fmla="*/ 17684 w 194683"/>
                <a:gd name="connsiteY4" fmla="*/ 6304 h 49135"/>
                <a:gd name="connsiteX5" fmla="*/ 347 w 194683"/>
                <a:gd name="connsiteY5" fmla="*/ 3929 h 49135"/>
                <a:gd name="connsiteX6" fmla="*/ 13247 w 194683"/>
                <a:gd name="connsiteY6" fmla="*/ 22277 h 4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683" h="49135">
                  <a:moveTo>
                    <a:pt x="13247" y="22277"/>
                  </a:moveTo>
                  <a:cubicBezTo>
                    <a:pt x="59974" y="55734"/>
                    <a:pt x="141205" y="57735"/>
                    <a:pt x="190827" y="29391"/>
                  </a:cubicBezTo>
                  <a:cubicBezTo>
                    <a:pt x="198649" y="24705"/>
                    <a:pt x="193589" y="11062"/>
                    <a:pt x="184422" y="14228"/>
                  </a:cubicBezTo>
                  <a:cubicBezTo>
                    <a:pt x="152225" y="25336"/>
                    <a:pt x="120046" y="32735"/>
                    <a:pt x="85685" y="29934"/>
                  </a:cubicBezTo>
                  <a:cubicBezTo>
                    <a:pt x="61426" y="28244"/>
                    <a:pt x="37755" y="20000"/>
                    <a:pt x="17684" y="6304"/>
                  </a:cubicBezTo>
                  <a:cubicBezTo>
                    <a:pt x="13657" y="3556"/>
                    <a:pt x="3153" y="-4920"/>
                    <a:pt x="347" y="3929"/>
                  </a:cubicBezTo>
                  <a:cubicBezTo>
                    <a:pt x="-2005" y="11347"/>
                    <a:pt x="8187" y="18337"/>
                    <a:pt x="13247" y="22277"/>
                  </a:cubicBez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D7C70C56-60F7-A2AE-D991-92796F630E6C}"/>
                </a:ext>
              </a:extLst>
            </p:cNvPr>
            <p:cNvSpPr/>
            <p:nvPr/>
          </p:nvSpPr>
          <p:spPr>
            <a:xfrm>
              <a:off x="5935437" y="2917236"/>
              <a:ext cx="416960" cy="541402"/>
            </a:xfrm>
            <a:custGeom>
              <a:avLst/>
              <a:gdLst>
                <a:gd name="connsiteX0" fmla="*/ 417893 w 416960"/>
                <a:gd name="connsiteY0" fmla="*/ 264032 h 541402"/>
                <a:gd name="connsiteX1" fmla="*/ 289250 w 416960"/>
                <a:gd name="connsiteY1" fmla="*/ 2965 h 541402"/>
                <a:gd name="connsiteX2" fmla="*/ 270273 w 416960"/>
                <a:gd name="connsiteY2" fmla="*/ 5553 h 541402"/>
                <a:gd name="connsiteX3" fmla="*/ 260385 w 416960"/>
                <a:gd name="connsiteY3" fmla="*/ 12979 h 541402"/>
                <a:gd name="connsiteX4" fmla="*/ 92987 w 416960"/>
                <a:gd name="connsiteY4" fmla="*/ 298085 h 541402"/>
                <a:gd name="connsiteX5" fmla="*/ 3631 w 416960"/>
                <a:gd name="connsiteY5" fmla="*/ 492087 h 541402"/>
                <a:gd name="connsiteX6" fmla="*/ 34012 w 416960"/>
                <a:gd name="connsiteY6" fmla="*/ 497432 h 541402"/>
                <a:gd name="connsiteX7" fmla="*/ 74367 w 416960"/>
                <a:gd name="connsiteY7" fmla="*/ 505383 h 541402"/>
                <a:gd name="connsiteX8" fmla="*/ 171653 w 416960"/>
                <a:gd name="connsiteY8" fmla="*/ 532944 h 541402"/>
                <a:gd name="connsiteX9" fmla="*/ 403819 w 416960"/>
                <a:gd name="connsiteY9" fmla="*/ 399773 h 541402"/>
                <a:gd name="connsiteX10" fmla="*/ 420299 w 416960"/>
                <a:gd name="connsiteY10" fmla="*/ 288934 h 541402"/>
                <a:gd name="connsiteX11" fmla="*/ 417893 w 416960"/>
                <a:gd name="connsiteY11" fmla="*/ 264032 h 5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6960" h="541402">
                  <a:moveTo>
                    <a:pt x="417893" y="264032"/>
                  </a:moveTo>
                  <a:cubicBezTo>
                    <a:pt x="415666" y="159205"/>
                    <a:pt x="378963" y="67745"/>
                    <a:pt x="289250" y="2965"/>
                  </a:cubicBezTo>
                  <a:cubicBezTo>
                    <a:pt x="283549" y="-1171"/>
                    <a:pt x="274995" y="830"/>
                    <a:pt x="270273" y="5553"/>
                  </a:cubicBezTo>
                  <a:cubicBezTo>
                    <a:pt x="265997" y="6398"/>
                    <a:pt x="262434" y="9137"/>
                    <a:pt x="260385" y="12979"/>
                  </a:cubicBezTo>
                  <a:cubicBezTo>
                    <a:pt x="207378" y="109606"/>
                    <a:pt x="151608" y="204641"/>
                    <a:pt x="92987" y="298085"/>
                  </a:cubicBezTo>
                  <a:cubicBezTo>
                    <a:pt x="55303" y="358454"/>
                    <a:pt x="9602" y="418903"/>
                    <a:pt x="3631" y="492087"/>
                  </a:cubicBezTo>
                  <a:cubicBezTo>
                    <a:pt x="2563" y="493475"/>
                    <a:pt x="30090" y="509198"/>
                    <a:pt x="34012" y="497432"/>
                  </a:cubicBezTo>
                  <a:cubicBezTo>
                    <a:pt x="47730" y="497832"/>
                    <a:pt x="61271" y="501328"/>
                    <a:pt x="74367" y="505383"/>
                  </a:cubicBezTo>
                  <a:cubicBezTo>
                    <a:pt x="106440" y="515397"/>
                    <a:pt x="138956" y="525296"/>
                    <a:pt x="171653" y="532944"/>
                  </a:cubicBezTo>
                  <a:cubicBezTo>
                    <a:pt x="279449" y="561492"/>
                    <a:pt x="395175" y="525171"/>
                    <a:pt x="403819" y="399773"/>
                  </a:cubicBezTo>
                  <a:cubicBezTo>
                    <a:pt x="415399" y="383507"/>
                    <a:pt x="421991" y="311328"/>
                    <a:pt x="420299" y="288934"/>
                  </a:cubicBezTo>
                  <a:lnTo>
                    <a:pt x="417893" y="264032"/>
                  </a:ln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7CABDD3B-EFFA-46CF-CF40-36F90C7C26CF}"/>
                </a:ext>
              </a:extLst>
            </p:cNvPr>
            <p:cNvSpPr/>
            <p:nvPr/>
          </p:nvSpPr>
          <p:spPr>
            <a:xfrm>
              <a:off x="5784287" y="2850534"/>
              <a:ext cx="633705" cy="669283"/>
            </a:xfrm>
            <a:custGeom>
              <a:avLst/>
              <a:gdLst>
                <a:gd name="connsiteX0" fmla="*/ 636930 w 633705"/>
                <a:gd name="connsiteY0" fmla="*/ 612986 h 669283"/>
                <a:gd name="connsiteX1" fmla="*/ 603165 w 633705"/>
                <a:gd name="connsiteY1" fmla="*/ 396697 h 669283"/>
                <a:gd name="connsiteX2" fmla="*/ 591583 w 633705"/>
                <a:gd name="connsiteY2" fmla="*/ 291282 h 669283"/>
                <a:gd name="connsiteX3" fmla="*/ 575100 w 633705"/>
                <a:gd name="connsiteY3" fmla="*/ 193872 h 669283"/>
                <a:gd name="connsiteX4" fmla="*/ 538397 w 633705"/>
                <a:gd name="connsiteY4" fmla="*/ 109402 h 669283"/>
                <a:gd name="connsiteX5" fmla="*/ 478976 w 633705"/>
                <a:gd name="connsiteY5" fmla="*/ 47771 h 669283"/>
                <a:gd name="connsiteX6" fmla="*/ 317635 w 633705"/>
                <a:gd name="connsiteY6" fmla="*/ 1854 h 669283"/>
                <a:gd name="connsiteX7" fmla="*/ 299817 w 633705"/>
                <a:gd name="connsiteY7" fmla="*/ 2681 h 669283"/>
                <a:gd name="connsiteX8" fmla="*/ 8498 w 633705"/>
                <a:gd name="connsiteY8" fmla="*/ 507314 h 669283"/>
                <a:gd name="connsiteX9" fmla="*/ 7606 w 633705"/>
                <a:gd name="connsiteY9" fmla="*/ 526230 h 669283"/>
                <a:gd name="connsiteX10" fmla="*/ 3955 w 633705"/>
                <a:gd name="connsiteY10" fmla="*/ 568572 h 669283"/>
                <a:gd name="connsiteX11" fmla="*/ 5112 w 633705"/>
                <a:gd name="connsiteY11" fmla="*/ 617611 h 669283"/>
                <a:gd name="connsiteX12" fmla="*/ 15358 w 633705"/>
                <a:gd name="connsiteY12" fmla="*/ 666738 h 669283"/>
                <a:gd name="connsiteX13" fmla="*/ 221062 w 633705"/>
                <a:gd name="connsiteY13" fmla="*/ 652090 h 669283"/>
                <a:gd name="connsiteX14" fmla="*/ 226141 w 633705"/>
                <a:gd name="connsiteY14" fmla="*/ 583433 h 669283"/>
                <a:gd name="connsiteX15" fmla="*/ 221954 w 633705"/>
                <a:gd name="connsiteY15" fmla="*/ 550803 h 669283"/>
                <a:gd name="connsiteX16" fmla="*/ 218924 w 633705"/>
                <a:gd name="connsiteY16" fmla="*/ 537996 h 669283"/>
                <a:gd name="connsiteX17" fmla="*/ 277724 w 633705"/>
                <a:gd name="connsiteY17" fmla="*/ 436860 h 669283"/>
                <a:gd name="connsiteX18" fmla="*/ 401201 w 633705"/>
                <a:gd name="connsiteY18" fmla="*/ 226752 h 669283"/>
                <a:gd name="connsiteX19" fmla="*/ 444319 w 633705"/>
                <a:gd name="connsiteY19" fmla="*/ 110532 h 669283"/>
                <a:gd name="connsiteX20" fmla="*/ 445657 w 633705"/>
                <a:gd name="connsiteY20" fmla="*/ 110799 h 669283"/>
                <a:gd name="connsiteX21" fmla="*/ 446100 w 633705"/>
                <a:gd name="connsiteY21" fmla="*/ 112213 h 669283"/>
                <a:gd name="connsiteX22" fmla="*/ 526102 w 633705"/>
                <a:gd name="connsiteY22" fmla="*/ 220909 h 669283"/>
                <a:gd name="connsiteX23" fmla="*/ 553274 w 633705"/>
                <a:gd name="connsiteY23" fmla="*/ 377291 h 669283"/>
                <a:gd name="connsiteX24" fmla="*/ 428283 w 633705"/>
                <a:gd name="connsiteY24" fmla="*/ 592922 h 669283"/>
                <a:gd name="connsiteX25" fmla="*/ 363961 w 633705"/>
                <a:gd name="connsiteY25" fmla="*/ 596284 h 669283"/>
                <a:gd name="connsiteX26" fmla="*/ 335096 w 633705"/>
                <a:gd name="connsiteY26" fmla="*/ 586127 h 669283"/>
                <a:gd name="connsiteX27" fmla="*/ 307480 w 633705"/>
                <a:gd name="connsiteY27" fmla="*/ 567069 h 669283"/>
                <a:gd name="connsiteX28" fmla="*/ 293671 w 633705"/>
                <a:gd name="connsiteY28" fmla="*/ 580845 h 669283"/>
                <a:gd name="connsiteX29" fmla="*/ 348281 w 633705"/>
                <a:gd name="connsiteY29" fmla="*/ 616303 h 669283"/>
                <a:gd name="connsiteX30" fmla="*/ 414476 w 633705"/>
                <a:gd name="connsiteY30" fmla="*/ 618758 h 669283"/>
                <a:gd name="connsiteX31" fmla="*/ 419463 w 633705"/>
                <a:gd name="connsiteY31" fmla="*/ 617806 h 669283"/>
                <a:gd name="connsiteX32" fmla="*/ 426055 w 633705"/>
                <a:gd name="connsiteY32" fmla="*/ 633218 h 669283"/>
                <a:gd name="connsiteX33" fmla="*/ 432204 w 633705"/>
                <a:gd name="connsiteY33" fmla="*/ 638403 h 669283"/>
                <a:gd name="connsiteX34" fmla="*/ 441646 w 633705"/>
                <a:gd name="connsiteY34" fmla="*/ 650329 h 669283"/>
                <a:gd name="connsiteX35" fmla="*/ 626505 w 633705"/>
                <a:gd name="connsiteY35" fmla="*/ 631280 h 669283"/>
                <a:gd name="connsiteX36" fmla="*/ 636930 w 633705"/>
                <a:gd name="connsiteY36" fmla="*/ 612986 h 66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33705" h="669283">
                  <a:moveTo>
                    <a:pt x="636930" y="612986"/>
                  </a:moveTo>
                  <a:cubicBezTo>
                    <a:pt x="621696" y="541536"/>
                    <a:pt x="611895" y="469161"/>
                    <a:pt x="603165" y="396697"/>
                  </a:cubicBezTo>
                  <a:cubicBezTo>
                    <a:pt x="598889" y="361603"/>
                    <a:pt x="595502" y="326412"/>
                    <a:pt x="591583" y="291282"/>
                  </a:cubicBezTo>
                  <a:cubicBezTo>
                    <a:pt x="587931" y="258555"/>
                    <a:pt x="583655" y="225729"/>
                    <a:pt x="575100" y="193872"/>
                  </a:cubicBezTo>
                  <a:cubicBezTo>
                    <a:pt x="567173" y="164266"/>
                    <a:pt x="555591" y="134962"/>
                    <a:pt x="538397" y="109402"/>
                  </a:cubicBezTo>
                  <a:cubicBezTo>
                    <a:pt x="522271" y="85595"/>
                    <a:pt x="502227" y="64748"/>
                    <a:pt x="478976" y="47771"/>
                  </a:cubicBezTo>
                  <a:cubicBezTo>
                    <a:pt x="433183" y="13895"/>
                    <a:pt x="374564" y="-4123"/>
                    <a:pt x="317635" y="1854"/>
                  </a:cubicBezTo>
                  <a:cubicBezTo>
                    <a:pt x="308994" y="2770"/>
                    <a:pt x="300709" y="2601"/>
                    <a:pt x="299817" y="2681"/>
                  </a:cubicBezTo>
                  <a:cubicBezTo>
                    <a:pt x="68009" y="23705"/>
                    <a:pt x="13488" y="426161"/>
                    <a:pt x="8498" y="507314"/>
                  </a:cubicBezTo>
                  <a:cubicBezTo>
                    <a:pt x="8141" y="513628"/>
                    <a:pt x="7785" y="519933"/>
                    <a:pt x="7606" y="526230"/>
                  </a:cubicBezTo>
                  <a:cubicBezTo>
                    <a:pt x="5825" y="540308"/>
                    <a:pt x="4579" y="554422"/>
                    <a:pt x="3955" y="568572"/>
                  </a:cubicBezTo>
                  <a:cubicBezTo>
                    <a:pt x="3241" y="584927"/>
                    <a:pt x="3598" y="601309"/>
                    <a:pt x="5112" y="617611"/>
                  </a:cubicBezTo>
                  <a:cubicBezTo>
                    <a:pt x="6628" y="634294"/>
                    <a:pt x="8409" y="651396"/>
                    <a:pt x="15358" y="666738"/>
                  </a:cubicBezTo>
                  <a:cubicBezTo>
                    <a:pt x="19634" y="676183"/>
                    <a:pt x="219013" y="663243"/>
                    <a:pt x="221062" y="652090"/>
                  </a:cubicBezTo>
                  <a:cubicBezTo>
                    <a:pt x="225517" y="629483"/>
                    <a:pt x="227122" y="606431"/>
                    <a:pt x="226141" y="583433"/>
                  </a:cubicBezTo>
                  <a:cubicBezTo>
                    <a:pt x="225606" y="572467"/>
                    <a:pt x="224271" y="561555"/>
                    <a:pt x="221954" y="550803"/>
                  </a:cubicBezTo>
                  <a:cubicBezTo>
                    <a:pt x="221330" y="547868"/>
                    <a:pt x="220619" y="542354"/>
                    <a:pt x="218924" y="537996"/>
                  </a:cubicBezTo>
                  <a:cubicBezTo>
                    <a:pt x="237099" y="503498"/>
                    <a:pt x="257144" y="469988"/>
                    <a:pt x="277724" y="436860"/>
                  </a:cubicBezTo>
                  <a:cubicBezTo>
                    <a:pt x="320576" y="367891"/>
                    <a:pt x="366188" y="300203"/>
                    <a:pt x="401201" y="226752"/>
                  </a:cubicBezTo>
                  <a:cubicBezTo>
                    <a:pt x="418752" y="189951"/>
                    <a:pt x="436034" y="150864"/>
                    <a:pt x="444319" y="110532"/>
                  </a:cubicBezTo>
                  <a:lnTo>
                    <a:pt x="445657" y="110799"/>
                  </a:lnTo>
                  <a:cubicBezTo>
                    <a:pt x="445478" y="111315"/>
                    <a:pt x="445657" y="111893"/>
                    <a:pt x="446100" y="112213"/>
                  </a:cubicBezTo>
                  <a:cubicBezTo>
                    <a:pt x="484141" y="138475"/>
                    <a:pt x="509622" y="178291"/>
                    <a:pt x="526102" y="220909"/>
                  </a:cubicBezTo>
                  <a:cubicBezTo>
                    <a:pt x="545346" y="270756"/>
                    <a:pt x="554523" y="323895"/>
                    <a:pt x="553274" y="377291"/>
                  </a:cubicBezTo>
                  <a:cubicBezTo>
                    <a:pt x="551136" y="461788"/>
                    <a:pt x="519066" y="566215"/>
                    <a:pt x="428283" y="592922"/>
                  </a:cubicBezTo>
                  <a:cubicBezTo>
                    <a:pt x="407526" y="599014"/>
                    <a:pt x="385165" y="600739"/>
                    <a:pt x="363961" y="596284"/>
                  </a:cubicBezTo>
                  <a:cubicBezTo>
                    <a:pt x="353895" y="594265"/>
                    <a:pt x="344183" y="590850"/>
                    <a:pt x="335096" y="586127"/>
                  </a:cubicBezTo>
                  <a:cubicBezTo>
                    <a:pt x="325119" y="580809"/>
                    <a:pt x="316833" y="573268"/>
                    <a:pt x="307480" y="567069"/>
                  </a:cubicBezTo>
                  <a:cubicBezTo>
                    <a:pt x="298839" y="561395"/>
                    <a:pt x="288771" y="572458"/>
                    <a:pt x="293671" y="580845"/>
                  </a:cubicBezTo>
                  <a:cubicBezTo>
                    <a:pt x="304629" y="599388"/>
                    <a:pt x="328147" y="610727"/>
                    <a:pt x="348281" y="616303"/>
                  </a:cubicBezTo>
                  <a:cubicBezTo>
                    <a:pt x="369842" y="622271"/>
                    <a:pt x="392558" y="622546"/>
                    <a:pt x="414476" y="618758"/>
                  </a:cubicBezTo>
                  <a:cubicBezTo>
                    <a:pt x="416079" y="618473"/>
                    <a:pt x="417771" y="618153"/>
                    <a:pt x="419463" y="617806"/>
                  </a:cubicBezTo>
                  <a:cubicBezTo>
                    <a:pt x="419909" y="623515"/>
                    <a:pt x="422225" y="628923"/>
                    <a:pt x="426055" y="633218"/>
                  </a:cubicBezTo>
                  <a:cubicBezTo>
                    <a:pt x="427839" y="635255"/>
                    <a:pt x="429888" y="637007"/>
                    <a:pt x="432204" y="638403"/>
                  </a:cubicBezTo>
                  <a:cubicBezTo>
                    <a:pt x="432559" y="643766"/>
                    <a:pt x="436034" y="649156"/>
                    <a:pt x="441646" y="650329"/>
                  </a:cubicBezTo>
                  <a:cubicBezTo>
                    <a:pt x="471670" y="656573"/>
                    <a:pt x="596483" y="640200"/>
                    <a:pt x="626505" y="631280"/>
                  </a:cubicBezTo>
                  <a:cubicBezTo>
                    <a:pt x="634524" y="628896"/>
                    <a:pt x="638622" y="621017"/>
                    <a:pt x="636930" y="612986"/>
                  </a:cubicBezTo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403FB41F-683B-65B9-4EA3-9EE05D258C14}"/>
                </a:ext>
              </a:extLst>
            </p:cNvPr>
            <p:cNvSpPr/>
            <p:nvPr/>
          </p:nvSpPr>
          <p:spPr>
            <a:xfrm>
              <a:off x="6213140" y="3347346"/>
              <a:ext cx="19486" cy="36698"/>
            </a:xfrm>
            <a:custGeom>
              <a:avLst/>
              <a:gdLst>
                <a:gd name="connsiteX0" fmla="*/ 14975 w 19486"/>
                <a:gd name="connsiteY0" fmla="*/ 6 h 36698"/>
                <a:gd name="connsiteX1" fmla="*/ 16757 w 19486"/>
                <a:gd name="connsiteY1" fmla="*/ 32023 h 36698"/>
                <a:gd name="connsiteX2" fmla="*/ 721 w 19486"/>
                <a:gd name="connsiteY2" fmla="*/ 32023 h 36698"/>
                <a:gd name="connsiteX3" fmla="*/ 14975 w 19486"/>
                <a:gd name="connsiteY3" fmla="*/ 6 h 36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86" h="36698">
                  <a:moveTo>
                    <a:pt x="14975" y="6"/>
                  </a:moveTo>
                  <a:cubicBezTo>
                    <a:pt x="19929" y="504"/>
                    <a:pt x="21212" y="28465"/>
                    <a:pt x="16757" y="32023"/>
                  </a:cubicBezTo>
                  <a:cubicBezTo>
                    <a:pt x="12303" y="35580"/>
                    <a:pt x="4730" y="40471"/>
                    <a:pt x="721" y="32023"/>
                  </a:cubicBezTo>
                  <a:cubicBezTo>
                    <a:pt x="-3288" y="23574"/>
                    <a:pt x="10521" y="-439"/>
                    <a:pt x="14975" y="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BDDC9B4-180D-2B2A-0A7A-2CCCB0A2F73A}"/>
                </a:ext>
              </a:extLst>
            </p:cNvPr>
            <p:cNvSpPr/>
            <p:nvPr/>
          </p:nvSpPr>
          <p:spPr>
            <a:xfrm>
              <a:off x="6097697" y="3162211"/>
              <a:ext cx="73573" cy="81798"/>
            </a:xfrm>
            <a:custGeom>
              <a:avLst/>
              <a:gdLst>
                <a:gd name="connsiteX0" fmla="*/ 27725 w 73573"/>
                <a:gd name="connsiteY0" fmla="*/ 593 h 81798"/>
                <a:gd name="connsiteX1" fmla="*/ 72385 w 73573"/>
                <a:gd name="connsiteY1" fmla="*/ 28830 h 81798"/>
                <a:gd name="connsiteX2" fmla="*/ 35859 w 73573"/>
                <a:gd name="connsiteY2" fmla="*/ 81524 h 81798"/>
                <a:gd name="connsiteX3" fmla="*/ 1 w 73573"/>
                <a:gd name="connsiteY3" fmla="*/ 47835 h 81798"/>
                <a:gd name="connsiteX4" fmla="*/ 27725 w 73573"/>
                <a:gd name="connsiteY4" fmla="*/ 593 h 8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81798">
                  <a:moveTo>
                    <a:pt x="27725" y="593"/>
                  </a:moveTo>
                  <a:cubicBezTo>
                    <a:pt x="38834" y="-2680"/>
                    <a:pt x="68145" y="7708"/>
                    <a:pt x="72385" y="28830"/>
                  </a:cubicBezTo>
                  <a:cubicBezTo>
                    <a:pt x="77437" y="54034"/>
                    <a:pt x="66594" y="77966"/>
                    <a:pt x="35859" y="81524"/>
                  </a:cubicBezTo>
                  <a:cubicBezTo>
                    <a:pt x="11422" y="84352"/>
                    <a:pt x="-106" y="64848"/>
                    <a:pt x="1" y="47835"/>
                  </a:cubicBezTo>
                  <a:cubicBezTo>
                    <a:pt x="134" y="26713"/>
                    <a:pt x="8126" y="6374"/>
                    <a:pt x="27725" y="59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0D47C8AE-DBB7-4D6D-2C83-8DE52C62A93D}"/>
                </a:ext>
              </a:extLst>
            </p:cNvPr>
            <p:cNvSpPr/>
            <p:nvPr/>
          </p:nvSpPr>
          <p:spPr>
            <a:xfrm>
              <a:off x="6257871" y="3162122"/>
              <a:ext cx="71276" cy="81764"/>
            </a:xfrm>
            <a:custGeom>
              <a:avLst/>
              <a:gdLst>
                <a:gd name="connsiteX0" fmla="*/ 27021 w 71276"/>
                <a:gd name="connsiteY0" fmla="*/ 789 h 81764"/>
                <a:gd name="connsiteX1" fmla="*/ 65774 w 71276"/>
                <a:gd name="connsiteY1" fmla="*/ 18905 h 81764"/>
                <a:gd name="connsiteX2" fmla="*/ 57088 w 71276"/>
                <a:gd name="connsiteY2" fmla="*/ 73493 h 81764"/>
                <a:gd name="connsiteX3" fmla="*/ 7644 w 71276"/>
                <a:gd name="connsiteY3" fmla="*/ 72159 h 81764"/>
                <a:gd name="connsiteX4" fmla="*/ 27021 w 71276"/>
                <a:gd name="connsiteY4" fmla="*/ 789 h 81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76" h="81764">
                  <a:moveTo>
                    <a:pt x="27021" y="789"/>
                  </a:moveTo>
                  <a:cubicBezTo>
                    <a:pt x="39939" y="-3275"/>
                    <a:pt x="61587" y="9202"/>
                    <a:pt x="65774" y="18905"/>
                  </a:cubicBezTo>
                  <a:cubicBezTo>
                    <a:pt x="71672" y="32583"/>
                    <a:pt x="77356" y="55368"/>
                    <a:pt x="57088" y="73493"/>
                  </a:cubicBezTo>
                  <a:cubicBezTo>
                    <a:pt x="42486" y="86549"/>
                    <a:pt x="15199" y="82654"/>
                    <a:pt x="7644" y="72159"/>
                  </a:cubicBezTo>
                  <a:cubicBezTo>
                    <a:pt x="-3715" y="56373"/>
                    <a:pt x="-6165" y="11239"/>
                    <a:pt x="27021" y="78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ABB98B4C-4162-4DE0-E6D0-AE7250EF29C6}"/>
                </a:ext>
              </a:extLst>
            </p:cNvPr>
            <p:cNvSpPr/>
            <p:nvPr/>
          </p:nvSpPr>
          <p:spPr>
            <a:xfrm>
              <a:off x="6209192" y="3212915"/>
              <a:ext cx="56859" cy="70011"/>
            </a:xfrm>
            <a:custGeom>
              <a:avLst/>
              <a:gdLst>
                <a:gd name="connsiteX0" fmla="*/ 4072 w 56859"/>
                <a:gd name="connsiteY0" fmla="*/ 64606 h 70011"/>
                <a:gd name="connsiteX1" fmla="*/ 12535 w 56859"/>
                <a:gd name="connsiteY1" fmla="*/ 50145 h 70011"/>
                <a:gd name="connsiteX2" fmla="*/ 32001 w 56859"/>
                <a:gd name="connsiteY2" fmla="*/ 51915 h 70011"/>
                <a:gd name="connsiteX3" fmla="*/ 40046 w 56859"/>
                <a:gd name="connsiteY3" fmla="*/ 47459 h 70011"/>
                <a:gd name="connsiteX4" fmla="*/ 40268 w 56859"/>
                <a:gd name="connsiteY4" fmla="*/ 39740 h 70011"/>
                <a:gd name="connsiteX5" fmla="*/ 28901 w 56859"/>
                <a:gd name="connsiteY5" fmla="*/ 16750 h 70011"/>
                <a:gd name="connsiteX6" fmla="*/ 27217 w 56859"/>
                <a:gd name="connsiteY6" fmla="*/ 1364 h 70011"/>
                <a:gd name="connsiteX7" fmla="*/ 32143 w 56859"/>
                <a:gd name="connsiteY7" fmla="*/ 1364 h 70011"/>
                <a:gd name="connsiteX8" fmla="*/ 45204 w 56859"/>
                <a:gd name="connsiteY8" fmla="*/ 25510 h 70011"/>
                <a:gd name="connsiteX9" fmla="*/ 53275 w 56859"/>
                <a:gd name="connsiteY9" fmla="*/ 40656 h 70011"/>
                <a:gd name="connsiteX10" fmla="*/ 55458 w 56859"/>
                <a:gd name="connsiteY10" fmla="*/ 54405 h 70011"/>
                <a:gd name="connsiteX11" fmla="*/ 4072 w 56859"/>
                <a:gd name="connsiteY11" fmla="*/ 64606 h 70011"/>
                <a:gd name="connsiteX12" fmla="*/ 4072 w 56859"/>
                <a:gd name="connsiteY12" fmla="*/ 64606 h 7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859" h="70011">
                  <a:moveTo>
                    <a:pt x="4072" y="64606"/>
                  </a:moveTo>
                  <a:cubicBezTo>
                    <a:pt x="-5265" y="59163"/>
                    <a:pt x="3118" y="44853"/>
                    <a:pt x="12535" y="50145"/>
                  </a:cubicBezTo>
                  <a:cubicBezTo>
                    <a:pt x="18557" y="53533"/>
                    <a:pt x="25426" y="54049"/>
                    <a:pt x="32001" y="51915"/>
                  </a:cubicBezTo>
                  <a:cubicBezTo>
                    <a:pt x="34941" y="50963"/>
                    <a:pt x="37622" y="49380"/>
                    <a:pt x="40046" y="47459"/>
                  </a:cubicBezTo>
                  <a:cubicBezTo>
                    <a:pt x="43431" y="44773"/>
                    <a:pt x="41997" y="43679"/>
                    <a:pt x="40268" y="39740"/>
                  </a:cubicBezTo>
                  <a:cubicBezTo>
                    <a:pt x="36838" y="31913"/>
                    <a:pt x="32500" y="24505"/>
                    <a:pt x="28901" y="16750"/>
                  </a:cubicBezTo>
                  <a:cubicBezTo>
                    <a:pt x="26495" y="11565"/>
                    <a:pt x="23404" y="6362"/>
                    <a:pt x="27217" y="1364"/>
                  </a:cubicBezTo>
                  <a:cubicBezTo>
                    <a:pt x="28562" y="-406"/>
                    <a:pt x="30816" y="-503"/>
                    <a:pt x="32143" y="1364"/>
                  </a:cubicBezTo>
                  <a:cubicBezTo>
                    <a:pt x="37257" y="8559"/>
                    <a:pt x="41328" y="17186"/>
                    <a:pt x="45204" y="25510"/>
                  </a:cubicBezTo>
                  <a:cubicBezTo>
                    <a:pt x="47600" y="30659"/>
                    <a:pt x="49943" y="36022"/>
                    <a:pt x="53275" y="40656"/>
                  </a:cubicBezTo>
                  <a:cubicBezTo>
                    <a:pt x="56456" y="45076"/>
                    <a:pt x="58291" y="49095"/>
                    <a:pt x="55458" y="54405"/>
                  </a:cubicBezTo>
                  <a:cubicBezTo>
                    <a:pt x="46041" y="72041"/>
                    <a:pt x="19600" y="73659"/>
                    <a:pt x="4072" y="64606"/>
                  </a:cubicBezTo>
                  <a:lnTo>
                    <a:pt x="4072" y="64606"/>
                  </a:ln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0BF4326D-558F-23AE-3C53-B2CBB519FBB6}"/>
                </a:ext>
              </a:extLst>
            </p:cNvPr>
            <p:cNvSpPr/>
            <p:nvPr/>
          </p:nvSpPr>
          <p:spPr>
            <a:xfrm>
              <a:off x="6085133" y="3091446"/>
              <a:ext cx="87269" cy="53555"/>
            </a:xfrm>
            <a:custGeom>
              <a:avLst/>
              <a:gdLst>
                <a:gd name="connsiteX0" fmla="*/ 5340 w 87269"/>
                <a:gd name="connsiteY0" fmla="*/ 52140 h 53555"/>
                <a:gd name="connsiteX1" fmla="*/ 36459 w 87269"/>
                <a:gd name="connsiteY1" fmla="*/ 17020 h 53555"/>
                <a:gd name="connsiteX2" fmla="*/ 63604 w 87269"/>
                <a:gd name="connsiteY2" fmla="*/ 14565 h 53555"/>
                <a:gd name="connsiteX3" fmla="*/ 81395 w 87269"/>
                <a:gd name="connsiteY3" fmla="*/ 30200 h 53555"/>
                <a:gd name="connsiteX4" fmla="*/ 86811 w 87269"/>
                <a:gd name="connsiteY4" fmla="*/ 28768 h 53555"/>
                <a:gd name="connsiteX5" fmla="*/ 73101 w 87269"/>
                <a:gd name="connsiteY5" fmla="*/ 4587 h 53555"/>
                <a:gd name="connsiteX6" fmla="*/ 37430 w 87269"/>
                <a:gd name="connsiteY6" fmla="*/ 3164 h 53555"/>
                <a:gd name="connsiteX7" fmla="*/ 3 w 87269"/>
                <a:gd name="connsiteY7" fmla="*/ 50699 h 53555"/>
                <a:gd name="connsiteX8" fmla="*/ 5340 w 87269"/>
                <a:gd name="connsiteY8" fmla="*/ 52140 h 53555"/>
                <a:gd name="connsiteX9" fmla="*/ 5340 w 87269"/>
                <a:gd name="connsiteY9" fmla="*/ 52140 h 5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269" h="53555">
                  <a:moveTo>
                    <a:pt x="5340" y="52140"/>
                  </a:moveTo>
                  <a:cubicBezTo>
                    <a:pt x="11594" y="37635"/>
                    <a:pt x="21830" y="23797"/>
                    <a:pt x="36459" y="17020"/>
                  </a:cubicBezTo>
                  <a:cubicBezTo>
                    <a:pt x="44681" y="13213"/>
                    <a:pt x="54873" y="11426"/>
                    <a:pt x="63604" y="14565"/>
                  </a:cubicBezTo>
                  <a:cubicBezTo>
                    <a:pt x="71506" y="17402"/>
                    <a:pt x="76192" y="24037"/>
                    <a:pt x="81395" y="30200"/>
                  </a:cubicBezTo>
                  <a:cubicBezTo>
                    <a:pt x="82954" y="32050"/>
                    <a:pt x="86295" y="31027"/>
                    <a:pt x="86811" y="28768"/>
                  </a:cubicBezTo>
                  <a:cubicBezTo>
                    <a:pt x="89199" y="18345"/>
                    <a:pt x="81894" y="9540"/>
                    <a:pt x="73101" y="4587"/>
                  </a:cubicBezTo>
                  <a:cubicBezTo>
                    <a:pt x="62339" y="-1470"/>
                    <a:pt x="48735" y="-1087"/>
                    <a:pt x="37430" y="3164"/>
                  </a:cubicBezTo>
                  <a:cubicBezTo>
                    <a:pt x="17153" y="10785"/>
                    <a:pt x="1117" y="28688"/>
                    <a:pt x="3" y="50699"/>
                  </a:cubicBezTo>
                  <a:cubicBezTo>
                    <a:pt x="-139" y="53394"/>
                    <a:pt x="4200" y="54781"/>
                    <a:pt x="5340" y="52140"/>
                  </a:cubicBezTo>
                  <a:lnTo>
                    <a:pt x="5340" y="5214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9C872F42-DE1A-56EA-D827-F55B7B6DAA1C}"/>
                </a:ext>
              </a:extLst>
            </p:cNvPr>
            <p:cNvSpPr/>
            <p:nvPr/>
          </p:nvSpPr>
          <p:spPr>
            <a:xfrm>
              <a:off x="6254199" y="3114300"/>
              <a:ext cx="71581" cy="45127"/>
            </a:xfrm>
            <a:custGeom>
              <a:avLst/>
              <a:gdLst>
                <a:gd name="connsiteX0" fmla="*/ 7573 w 71581"/>
                <a:gd name="connsiteY0" fmla="*/ 27810 h 45127"/>
                <a:gd name="connsiteX1" fmla="*/ 41944 w 71581"/>
                <a:gd name="connsiteY1" fmla="*/ 12513 h 45127"/>
                <a:gd name="connsiteX2" fmla="*/ 55601 w 71581"/>
                <a:gd name="connsiteY2" fmla="*/ 24163 h 45127"/>
                <a:gd name="connsiteX3" fmla="*/ 64358 w 71581"/>
                <a:gd name="connsiteY3" fmla="*/ 43560 h 45127"/>
                <a:gd name="connsiteX4" fmla="*/ 70452 w 71581"/>
                <a:gd name="connsiteY4" fmla="*/ 42768 h 45127"/>
                <a:gd name="connsiteX5" fmla="*/ 65365 w 71581"/>
                <a:gd name="connsiteY5" fmla="*/ 17138 h 45127"/>
                <a:gd name="connsiteX6" fmla="*/ 45997 w 71581"/>
                <a:gd name="connsiteY6" fmla="*/ 1423 h 45127"/>
                <a:gd name="connsiteX7" fmla="*/ 1248 w 71581"/>
                <a:gd name="connsiteY7" fmla="*/ 21513 h 45127"/>
                <a:gd name="connsiteX8" fmla="*/ 7573 w 71581"/>
                <a:gd name="connsiteY8" fmla="*/ 27810 h 45127"/>
                <a:gd name="connsiteX9" fmla="*/ 7573 w 71581"/>
                <a:gd name="connsiteY9" fmla="*/ 27810 h 4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581" h="45127">
                  <a:moveTo>
                    <a:pt x="7573" y="27810"/>
                  </a:moveTo>
                  <a:cubicBezTo>
                    <a:pt x="16553" y="19210"/>
                    <a:pt x="28393" y="7951"/>
                    <a:pt x="41944" y="12513"/>
                  </a:cubicBezTo>
                  <a:cubicBezTo>
                    <a:pt x="47868" y="14505"/>
                    <a:pt x="52412" y="18916"/>
                    <a:pt x="55601" y="24163"/>
                  </a:cubicBezTo>
                  <a:cubicBezTo>
                    <a:pt x="59289" y="30229"/>
                    <a:pt x="60144" y="37904"/>
                    <a:pt x="64358" y="43560"/>
                  </a:cubicBezTo>
                  <a:cubicBezTo>
                    <a:pt x="66131" y="45943"/>
                    <a:pt x="69374" y="45552"/>
                    <a:pt x="70452" y="42768"/>
                  </a:cubicBezTo>
                  <a:cubicBezTo>
                    <a:pt x="73570" y="34711"/>
                    <a:pt x="69695" y="24137"/>
                    <a:pt x="65365" y="17138"/>
                  </a:cubicBezTo>
                  <a:cubicBezTo>
                    <a:pt x="60937" y="9978"/>
                    <a:pt x="54051" y="4082"/>
                    <a:pt x="45997" y="1423"/>
                  </a:cubicBezTo>
                  <a:cubicBezTo>
                    <a:pt x="27983" y="-4527"/>
                    <a:pt x="12527" y="9347"/>
                    <a:pt x="1248" y="21513"/>
                  </a:cubicBezTo>
                  <a:cubicBezTo>
                    <a:pt x="-2636" y="25720"/>
                    <a:pt x="3413" y="31803"/>
                    <a:pt x="7573" y="27810"/>
                  </a:cubicBezTo>
                  <a:lnTo>
                    <a:pt x="7573" y="2781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4B1C274E-CEC8-93A3-A27C-D1AB8A42801B}"/>
                </a:ext>
              </a:extLst>
            </p:cNvPr>
            <p:cNvSpPr/>
            <p:nvPr/>
          </p:nvSpPr>
          <p:spPr>
            <a:xfrm>
              <a:off x="6091095" y="3158173"/>
              <a:ext cx="85138" cy="91668"/>
            </a:xfrm>
            <a:custGeom>
              <a:avLst/>
              <a:gdLst>
                <a:gd name="connsiteX0" fmla="*/ 82515 w 85138"/>
                <a:gd name="connsiteY0" fmla="*/ 31952 h 91668"/>
                <a:gd name="connsiteX1" fmla="*/ 49152 w 85138"/>
                <a:gd name="connsiteY1" fmla="*/ 1955 h 91668"/>
                <a:gd name="connsiteX2" fmla="*/ 47691 w 85138"/>
                <a:gd name="connsiteY2" fmla="*/ 7 h 91668"/>
                <a:gd name="connsiteX3" fmla="*/ 3913 w 85138"/>
                <a:gd name="connsiteY3" fmla="*/ 28964 h 91668"/>
                <a:gd name="connsiteX4" fmla="*/ 15396 w 85138"/>
                <a:gd name="connsiteY4" fmla="*/ 84130 h 91668"/>
                <a:gd name="connsiteX5" fmla="*/ 67317 w 85138"/>
                <a:gd name="connsiteY5" fmla="*/ 82503 h 91668"/>
                <a:gd name="connsiteX6" fmla="*/ 82515 w 85138"/>
                <a:gd name="connsiteY6" fmla="*/ 31952 h 91668"/>
                <a:gd name="connsiteX7" fmla="*/ 45152 w 85138"/>
                <a:gd name="connsiteY7" fmla="*/ 81951 h 91668"/>
                <a:gd name="connsiteX8" fmla="*/ 18968 w 85138"/>
                <a:gd name="connsiteY8" fmla="*/ 74125 h 91668"/>
                <a:gd name="connsiteX9" fmla="*/ 10719 w 85138"/>
                <a:gd name="connsiteY9" fmla="*/ 44741 h 91668"/>
                <a:gd name="connsiteX10" fmla="*/ 35601 w 85138"/>
                <a:gd name="connsiteY10" fmla="*/ 7522 h 91668"/>
                <a:gd name="connsiteX11" fmla="*/ 35949 w 85138"/>
                <a:gd name="connsiteY11" fmla="*/ 7726 h 91668"/>
                <a:gd name="connsiteX12" fmla="*/ 62604 w 85138"/>
                <a:gd name="connsiteY12" fmla="*/ 15428 h 91668"/>
                <a:gd name="connsiteX13" fmla="*/ 77188 w 85138"/>
                <a:gd name="connsiteY13" fmla="*/ 40775 h 91668"/>
                <a:gd name="connsiteX14" fmla="*/ 45152 w 85138"/>
                <a:gd name="connsiteY14" fmla="*/ 81951 h 9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138" h="91668">
                  <a:moveTo>
                    <a:pt x="82515" y="31952"/>
                  </a:moveTo>
                  <a:cubicBezTo>
                    <a:pt x="77731" y="18719"/>
                    <a:pt x="64065" y="5112"/>
                    <a:pt x="49152" y="1955"/>
                  </a:cubicBezTo>
                  <a:cubicBezTo>
                    <a:pt x="49276" y="1065"/>
                    <a:pt x="48769" y="34"/>
                    <a:pt x="47691" y="7"/>
                  </a:cubicBezTo>
                  <a:cubicBezTo>
                    <a:pt x="28367" y="-322"/>
                    <a:pt x="11316" y="11017"/>
                    <a:pt x="3913" y="28964"/>
                  </a:cubicBezTo>
                  <a:cubicBezTo>
                    <a:pt x="-3393" y="46680"/>
                    <a:pt x="-961" y="72000"/>
                    <a:pt x="15396" y="84130"/>
                  </a:cubicBezTo>
                  <a:cubicBezTo>
                    <a:pt x="30541" y="95363"/>
                    <a:pt x="52591" y="93397"/>
                    <a:pt x="67317" y="82503"/>
                  </a:cubicBezTo>
                  <a:cubicBezTo>
                    <a:pt x="82899" y="70995"/>
                    <a:pt x="89144" y="50255"/>
                    <a:pt x="82515" y="31952"/>
                  </a:cubicBezTo>
                  <a:close/>
                  <a:moveTo>
                    <a:pt x="45152" y="81951"/>
                  </a:moveTo>
                  <a:cubicBezTo>
                    <a:pt x="35967" y="83285"/>
                    <a:pt x="25463" y="81142"/>
                    <a:pt x="18968" y="74125"/>
                  </a:cubicBezTo>
                  <a:cubicBezTo>
                    <a:pt x="12037" y="66637"/>
                    <a:pt x="9971" y="54568"/>
                    <a:pt x="10719" y="44741"/>
                  </a:cubicBezTo>
                  <a:cubicBezTo>
                    <a:pt x="11948" y="28635"/>
                    <a:pt x="21677" y="14681"/>
                    <a:pt x="35601" y="7522"/>
                  </a:cubicBezTo>
                  <a:cubicBezTo>
                    <a:pt x="35744" y="7566"/>
                    <a:pt x="35788" y="7709"/>
                    <a:pt x="35949" y="7726"/>
                  </a:cubicBezTo>
                  <a:cubicBezTo>
                    <a:pt x="45668" y="9096"/>
                    <a:pt x="54221" y="9541"/>
                    <a:pt x="62604" y="15428"/>
                  </a:cubicBezTo>
                  <a:cubicBezTo>
                    <a:pt x="71174" y="21440"/>
                    <a:pt x="76181" y="30396"/>
                    <a:pt x="77188" y="40775"/>
                  </a:cubicBezTo>
                  <a:cubicBezTo>
                    <a:pt x="79121" y="60651"/>
                    <a:pt x="65001" y="79061"/>
                    <a:pt x="45152" y="81951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4EF2D90D-B8DB-0D2F-08AE-0617E4245F1F}"/>
                </a:ext>
              </a:extLst>
            </p:cNvPr>
            <p:cNvSpPr/>
            <p:nvPr/>
          </p:nvSpPr>
          <p:spPr>
            <a:xfrm>
              <a:off x="6137329" y="3198786"/>
              <a:ext cx="20096" cy="24829"/>
            </a:xfrm>
            <a:custGeom>
              <a:avLst/>
              <a:gdLst>
                <a:gd name="connsiteX0" fmla="*/ 11987 w 20096"/>
                <a:gd name="connsiteY0" fmla="*/ 144 h 24829"/>
                <a:gd name="connsiteX1" fmla="*/ 691 w 20096"/>
                <a:gd name="connsiteY1" fmla="*/ 7739 h 24829"/>
                <a:gd name="connsiteX2" fmla="*/ 869 w 20096"/>
                <a:gd name="connsiteY2" fmla="*/ 18126 h 24829"/>
                <a:gd name="connsiteX3" fmla="*/ 16201 w 20096"/>
                <a:gd name="connsiteY3" fmla="*/ 22164 h 24829"/>
                <a:gd name="connsiteX4" fmla="*/ 19524 w 20096"/>
                <a:gd name="connsiteY4" fmla="*/ 8513 h 24829"/>
                <a:gd name="connsiteX5" fmla="*/ 16842 w 20096"/>
                <a:gd name="connsiteY5" fmla="*/ 4128 h 24829"/>
                <a:gd name="connsiteX6" fmla="*/ 15836 w 20096"/>
                <a:gd name="connsiteY6" fmla="*/ 2794 h 24829"/>
                <a:gd name="connsiteX7" fmla="*/ 11987 w 20096"/>
                <a:gd name="connsiteY7" fmla="*/ 144 h 24829"/>
                <a:gd name="connsiteX8" fmla="*/ 11987 w 20096"/>
                <a:gd name="connsiteY8" fmla="*/ 144 h 2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96" h="24829">
                  <a:moveTo>
                    <a:pt x="11987" y="144"/>
                  </a:moveTo>
                  <a:cubicBezTo>
                    <a:pt x="6535" y="-737"/>
                    <a:pt x="2196" y="2501"/>
                    <a:pt x="691" y="7739"/>
                  </a:cubicBezTo>
                  <a:cubicBezTo>
                    <a:pt x="-254" y="11012"/>
                    <a:pt x="-263" y="14898"/>
                    <a:pt x="869" y="18126"/>
                  </a:cubicBezTo>
                  <a:cubicBezTo>
                    <a:pt x="3096" y="24494"/>
                    <a:pt x="11069" y="27304"/>
                    <a:pt x="16201" y="22164"/>
                  </a:cubicBezTo>
                  <a:cubicBezTo>
                    <a:pt x="19854" y="18500"/>
                    <a:pt x="20878" y="13413"/>
                    <a:pt x="19524" y="8513"/>
                  </a:cubicBezTo>
                  <a:cubicBezTo>
                    <a:pt x="19034" y="6752"/>
                    <a:pt x="18081" y="5267"/>
                    <a:pt x="16842" y="4128"/>
                  </a:cubicBezTo>
                  <a:cubicBezTo>
                    <a:pt x="16709" y="4004"/>
                    <a:pt x="15889" y="2883"/>
                    <a:pt x="15836" y="2794"/>
                  </a:cubicBezTo>
                  <a:cubicBezTo>
                    <a:pt x="14900" y="1425"/>
                    <a:pt x="13617" y="402"/>
                    <a:pt x="11987" y="144"/>
                  </a:cubicBezTo>
                  <a:lnTo>
                    <a:pt x="11987" y="144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3BA4E66C-BAD7-F0F0-CA3D-7181B890C54E}"/>
                </a:ext>
              </a:extLst>
            </p:cNvPr>
            <p:cNvSpPr/>
            <p:nvPr/>
          </p:nvSpPr>
          <p:spPr>
            <a:xfrm>
              <a:off x="6252019" y="3158184"/>
              <a:ext cx="81486" cy="91615"/>
            </a:xfrm>
            <a:custGeom>
              <a:avLst/>
              <a:gdLst>
                <a:gd name="connsiteX0" fmla="*/ 79251 w 81486"/>
                <a:gd name="connsiteY0" fmla="*/ 32911 h 91615"/>
                <a:gd name="connsiteX1" fmla="*/ 47135 w 81486"/>
                <a:gd name="connsiteY1" fmla="*/ 1953 h 91615"/>
                <a:gd name="connsiteX2" fmla="*/ 45674 w 81486"/>
                <a:gd name="connsiteY2" fmla="*/ 5 h 91615"/>
                <a:gd name="connsiteX3" fmla="*/ 4052 w 81486"/>
                <a:gd name="connsiteY3" fmla="*/ 28366 h 91615"/>
                <a:gd name="connsiteX4" fmla="*/ 12996 w 81486"/>
                <a:gd name="connsiteY4" fmla="*/ 82652 h 91615"/>
                <a:gd name="connsiteX5" fmla="*/ 64819 w 81486"/>
                <a:gd name="connsiteY5" fmla="*/ 82234 h 91615"/>
                <a:gd name="connsiteX6" fmla="*/ 79251 w 81486"/>
                <a:gd name="connsiteY6" fmla="*/ 32911 h 91615"/>
                <a:gd name="connsiteX7" fmla="*/ 42458 w 81486"/>
                <a:gd name="connsiteY7" fmla="*/ 82003 h 91615"/>
                <a:gd name="connsiteX8" fmla="*/ 16373 w 81486"/>
                <a:gd name="connsiteY8" fmla="*/ 71135 h 91615"/>
                <a:gd name="connsiteX9" fmla="*/ 10840 w 81486"/>
                <a:gd name="connsiteY9" fmla="*/ 43663 h 91615"/>
                <a:gd name="connsiteX10" fmla="*/ 34128 w 81486"/>
                <a:gd name="connsiteY10" fmla="*/ 7520 h 91615"/>
                <a:gd name="connsiteX11" fmla="*/ 34458 w 81486"/>
                <a:gd name="connsiteY11" fmla="*/ 7716 h 91615"/>
                <a:gd name="connsiteX12" fmla="*/ 59180 w 81486"/>
                <a:gd name="connsiteY12" fmla="*/ 14991 h 91615"/>
                <a:gd name="connsiteX13" fmla="*/ 73559 w 81486"/>
                <a:gd name="connsiteY13" fmla="*/ 40755 h 91615"/>
                <a:gd name="connsiteX14" fmla="*/ 42458 w 81486"/>
                <a:gd name="connsiteY14" fmla="*/ 82003 h 9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1486" h="91615">
                  <a:moveTo>
                    <a:pt x="79251" y="32911"/>
                  </a:moveTo>
                  <a:cubicBezTo>
                    <a:pt x="74957" y="19686"/>
                    <a:pt x="61906" y="5190"/>
                    <a:pt x="47135" y="1953"/>
                  </a:cubicBezTo>
                  <a:cubicBezTo>
                    <a:pt x="47260" y="1063"/>
                    <a:pt x="46752" y="23"/>
                    <a:pt x="45674" y="5"/>
                  </a:cubicBezTo>
                  <a:cubicBezTo>
                    <a:pt x="26992" y="-279"/>
                    <a:pt x="11134" y="11202"/>
                    <a:pt x="4052" y="28366"/>
                  </a:cubicBezTo>
                  <a:cubicBezTo>
                    <a:pt x="-2933" y="45291"/>
                    <a:pt x="-1463" y="69774"/>
                    <a:pt x="12996" y="82652"/>
                  </a:cubicBezTo>
                  <a:cubicBezTo>
                    <a:pt x="27544" y="95610"/>
                    <a:pt x="50102" y="93680"/>
                    <a:pt x="64819" y="82234"/>
                  </a:cubicBezTo>
                  <a:cubicBezTo>
                    <a:pt x="79554" y="70779"/>
                    <a:pt x="84971" y="50538"/>
                    <a:pt x="79251" y="32911"/>
                  </a:cubicBezTo>
                  <a:close/>
                  <a:moveTo>
                    <a:pt x="42458" y="82003"/>
                  </a:moveTo>
                  <a:cubicBezTo>
                    <a:pt x="32489" y="83292"/>
                    <a:pt x="21878" y="79966"/>
                    <a:pt x="16373" y="71135"/>
                  </a:cubicBezTo>
                  <a:cubicBezTo>
                    <a:pt x="11446" y="63220"/>
                    <a:pt x="9967" y="52797"/>
                    <a:pt x="10840" y="43663"/>
                  </a:cubicBezTo>
                  <a:cubicBezTo>
                    <a:pt x="12292" y="28446"/>
                    <a:pt x="20996" y="14653"/>
                    <a:pt x="34128" y="7520"/>
                  </a:cubicBezTo>
                  <a:cubicBezTo>
                    <a:pt x="34262" y="7556"/>
                    <a:pt x="34306" y="7698"/>
                    <a:pt x="34458" y="7716"/>
                  </a:cubicBezTo>
                  <a:cubicBezTo>
                    <a:pt x="43527" y="9023"/>
                    <a:pt x="51385" y="9441"/>
                    <a:pt x="59180" y="14991"/>
                  </a:cubicBezTo>
                  <a:cubicBezTo>
                    <a:pt x="67786" y="21118"/>
                    <a:pt x="72641" y="30314"/>
                    <a:pt x="73559" y="40755"/>
                  </a:cubicBezTo>
                  <a:cubicBezTo>
                    <a:pt x="75278" y="60134"/>
                    <a:pt x="62396" y="79424"/>
                    <a:pt x="42458" y="82003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A2E34BD8-ECD7-78D4-D05C-1464057D733F}"/>
                </a:ext>
              </a:extLst>
            </p:cNvPr>
            <p:cNvSpPr/>
            <p:nvPr/>
          </p:nvSpPr>
          <p:spPr>
            <a:xfrm>
              <a:off x="6286341" y="3199236"/>
              <a:ext cx="23057" cy="23854"/>
            </a:xfrm>
            <a:custGeom>
              <a:avLst/>
              <a:gdLst>
                <a:gd name="connsiteX0" fmla="*/ 3824 w 23057"/>
                <a:gd name="connsiteY0" fmla="*/ 3322 h 23854"/>
                <a:gd name="connsiteX1" fmla="*/ 1017 w 23057"/>
                <a:gd name="connsiteY1" fmla="*/ 16831 h 23854"/>
                <a:gd name="connsiteX2" fmla="*/ 13294 w 23057"/>
                <a:gd name="connsiteY2" fmla="*/ 23670 h 23854"/>
                <a:gd name="connsiteX3" fmla="*/ 23031 w 23057"/>
                <a:gd name="connsiteY3" fmla="*/ 12713 h 23854"/>
                <a:gd name="connsiteX4" fmla="*/ 22907 w 23057"/>
                <a:gd name="connsiteY4" fmla="*/ 11068 h 23854"/>
                <a:gd name="connsiteX5" fmla="*/ 16234 w 23057"/>
                <a:gd name="connsiteY5" fmla="*/ 1267 h 23854"/>
                <a:gd name="connsiteX6" fmla="*/ 3824 w 23057"/>
                <a:gd name="connsiteY6" fmla="*/ 3322 h 23854"/>
                <a:gd name="connsiteX7" fmla="*/ 3824 w 23057"/>
                <a:gd name="connsiteY7" fmla="*/ 3322 h 2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57" h="23854">
                  <a:moveTo>
                    <a:pt x="3824" y="3322"/>
                  </a:moveTo>
                  <a:cubicBezTo>
                    <a:pt x="599" y="6701"/>
                    <a:pt x="-1281" y="12447"/>
                    <a:pt x="1017" y="16831"/>
                  </a:cubicBezTo>
                  <a:cubicBezTo>
                    <a:pt x="3601" y="22710"/>
                    <a:pt x="8670" y="24479"/>
                    <a:pt x="13294" y="23670"/>
                  </a:cubicBezTo>
                  <a:cubicBezTo>
                    <a:pt x="18675" y="22718"/>
                    <a:pt x="23459" y="18272"/>
                    <a:pt x="23031" y="12713"/>
                  </a:cubicBezTo>
                  <a:cubicBezTo>
                    <a:pt x="23022" y="12624"/>
                    <a:pt x="23067" y="13798"/>
                    <a:pt x="22907" y="11068"/>
                  </a:cubicBezTo>
                  <a:cubicBezTo>
                    <a:pt x="22666" y="6986"/>
                    <a:pt x="19895" y="3171"/>
                    <a:pt x="16234" y="1267"/>
                  </a:cubicBezTo>
                  <a:cubicBezTo>
                    <a:pt x="12448" y="-707"/>
                    <a:pt x="7699" y="-627"/>
                    <a:pt x="3824" y="3322"/>
                  </a:cubicBezTo>
                  <a:lnTo>
                    <a:pt x="3824" y="3322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AB7566-E681-164B-7904-37E7645C8C81}"/>
                </a:ext>
              </a:extLst>
            </p:cNvPr>
            <p:cNvSpPr/>
            <p:nvPr/>
          </p:nvSpPr>
          <p:spPr>
            <a:xfrm>
              <a:off x="6205538" y="3334894"/>
              <a:ext cx="40335" cy="55585"/>
            </a:xfrm>
            <a:custGeom>
              <a:avLst/>
              <a:gdLst>
                <a:gd name="connsiteX0" fmla="*/ 40190 w 40335"/>
                <a:gd name="connsiteY0" fmla="*/ 6420 h 55585"/>
                <a:gd name="connsiteX1" fmla="*/ 14888 w 40335"/>
                <a:gd name="connsiteY1" fmla="*/ 9124 h 55585"/>
                <a:gd name="connsiteX2" fmla="*/ 403 w 40335"/>
                <a:gd name="connsiteY2" fmla="*/ 42101 h 55585"/>
                <a:gd name="connsiteX3" fmla="*/ 24225 w 40335"/>
                <a:gd name="connsiteY3" fmla="*/ 52995 h 55585"/>
                <a:gd name="connsiteX4" fmla="*/ 31771 w 40335"/>
                <a:gd name="connsiteY4" fmla="*/ 34932 h 55585"/>
                <a:gd name="connsiteX5" fmla="*/ 32804 w 40335"/>
                <a:gd name="connsiteY5" fmla="*/ 13713 h 55585"/>
                <a:gd name="connsiteX6" fmla="*/ 31307 w 40335"/>
                <a:gd name="connsiteY6" fmla="*/ 12041 h 55585"/>
                <a:gd name="connsiteX7" fmla="*/ 37668 w 40335"/>
                <a:gd name="connsiteY7" fmla="*/ 10858 h 55585"/>
                <a:gd name="connsiteX8" fmla="*/ 40190 w 40335"/>
                <a:gd name="connsiteY8" fmla="*/ 6420 h 55585"/>
                <a:gd name="connsiteX9" fmla="*/ 16394 w 40335"/>
                <a:gd name="connsiteY9" fmla="*/ 41434 h 55585"/>
                <a:gd name="connsiteX10" fmla="*/ 13997 w 40335"/>
                <a:gd name="connsiteY10" fmla="*/ 35030 h 55585"/>
                <a:gd name="connsiteX11" fmla="*/ 19467 w 40335"/>
                <a:gd name="connsiteY11" fmla="*/ 23371 h 55585"/>
                <a:gd name="connsiteX12" fmla="*/ 18202 w 40335"/>
                <a:gd name="connsiteY12" fmla="*/ 31188 h 55585"/>
                <a:gd name="connsiteX13" fmla="*/ 16394 w 40335"/>
                <a:gd name="connsiteY13" fmla="*/ 41434 h 5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35" h="55585">
                  <a:moveTo>
                    <a:pt x="40190" y="6420"/>
                  </a:moveTo>
                  <a:cubicBezTo>
                    <a:pt x="36234" y="-6511"/>
                    <a:pt x="20519" y="3103"/>
                    <a:pt x="14888" y="9124"/>
                  </a:cubicBezTo>
                  <a:cubicBezTo>
                    <a:pt x="7102" y="17439"/>
                    <a:pt x="-2038" y="30005"/>
                    <a:pt x="403" y="42101"/>
                  </a:cubicBezTo>
                  <a:cubicBezTo>
                    <a:pt x="2452" y="52284"/>
                    <a:pt x="15040" y="59754"/>
                    <a:pt x="24225" y="52995"/>
                  </a:cubicBezTo>
                  <a:cubicBezTo>
                    <a:pt x="29953" y="48780"/>
                    <a:pt x="30577" y="41398"/>
                    <a:pt x="31771" y="34932"/>
                  </a:cubicBezTo>
                  <a:cubicBezTo>
                    <a:pt x="33071" y="27907"/>
                    <a:pt x="36056" y="20392"/>
                    <a:pt x="32804" y="13713"/>
                  </a:cubicBezTo>
                  <a:cubicBezTo>
                    <a:pt x="32448" y="12974"/>
                    <a:pt x="31904" y="12459"/>
                    <a:pt x="31307" y="12041"/>
                  </a:cubicBezTo>
                  <a:cubicBezTo>
                    <a:pt x="33401" y="11569"/>
                    <a:pt x="35637" y="11525"/>
                    <a:pt x="37668" y="10858"/>
                  </a:cubicBezTo>
                  <a:cubicBezTo>
                    <a:pt x="39477" y="10271"/>
                    <a:pt x="40786" y="8368"/>
                    <a:pt x="40190" y="6420"/>
                  </a:cubicBezTo>
                  <a:close/>
                  <a:moveTo>
                    <a:pt x="16394" y="41434"/>
                  </a:moveTo>
                  <a:cubicBezTo>
                    <a:pt x="13686" y="42981"/>
                    <a:pt x="13926" y="35404"/>
                    <a:pt x="13997" y="35030"/>
                  </a:cubicBezTo>
                  <a:cubicBezTo>
                    <a:pt x="14790" y="31019"/>
                    <a:pt x="16991" y="26991"/>
                    <a:pt x="19467" y="23371"/>
                  </a:cubicBezTo>
                  <a:cubicBezTo>
                    <a:pt x="19004" y="26030"/>
                    <a:pt x="18666" y="28725"/>
                    <a:pt x="18202" y="31188"/>
                  </a:cubicBezTo>
                  <a:cubicBezTo>
                    <a:pt x="18042" y="31971"/>
                    <a:pt x="17196" y="40980"/>
                    <a:pt x="16394" y="41434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3" name="Rounded Rectangle 10">
              <a:extLst>
                <a:ext uri="{FF2B5EF4-FFF2-40B4-BE49-F238E27FC236}">
                  <a16:creationId xmlns:a16="http://schemas.microsoft.com/office/drawing/2014/main" id="{EF4ADD2F-668A-B543-ADF7-EA0827DF6C49}"/>
                </a:ext>
              </a:extLst>
            </p:cNvPr>
            <p:cNvSpPr/>
            <p:nvPr/>
          </p:nvSpPr>
          <p:spPr>
            <a:xfrm>
              <a:off x="7070202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BF144F99-0754-743A-E4F3-0B08DA4EB929}"/>
                </a:ext>
              </a:extLst>
            </p:cNvPr>
            <p:cNvSpPr txBox="1"/>
            <p:nvPr/>
          </p:nvSpPr>
          <p:spPr>
            <a:xfrm>
              <a:off x="7286262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M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405C0D2A-A7A5-64BD-F7DE-A8878A83F302}"/>
                </a:ext>
              </a:extLst>
            </p:cNvPr>
            <p:cNvSpPr txBox="1"/>
            <p:nvPr/>
          </p:nvSpPr>
          <p:spPr>
            <a:xfrm>
              <a:off x="7205172" y="4671889"/>
              <a:ext cx="1096774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aminta Art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FBBE870E-5D53-7265-35FF-C088367E6797}"/>
                </a:ext>
              </a:extLst>
            </p:cNvPr>
            <p:cNvSpPr/>
            <p:nvPr/>
          </p:nvSpPr>
          <p:spPr>
            <a:xfrm>
              <a:off x="7203157" y="3388531"/>
              <a:ext cx="1093374" cy="1055352"/>
            </a:xfrm>
            <a:custGeom>
              <a:avLst/>
              <a:gdLst>
                <a:gd name="connsiteX0" fmla="*/ 1075377 w 1093374"/>
                <a:gd name="connsiteY0" fmla="*/ 942833 h 1055352"/>
                <a:gd name="connsiteX1" fmla="*/ 1066286 w 1093374"/>
                <a:gd name="connsiteY1" fmla="*/ 867022 h 1055352"/>
                <a:gd name="connsiteX2" fmla="*/ 1066286 w 1093374"/>
                <a:gd name="connsiteY2" fmla="*/ 865744 h 1055352"/>
                <a:gd name="connsiteX3" fmla="*/ 1059766 w 1093374"/>
                <a:gd name="connsiteY3" fmla="*/ 780068 h 1055352"/>
                <a:gd name="connsiteX4" fmla="*/ 1040480 w 1093374"/>
                <a:gd name="connsiteY4" fmla="*/ 641234 h 1055352"/>
                <a:gd name="connsiteX5" fmla="*/ 996307 w 1093374"/>
                <a:gd name="connsiteY5" fmla="*/ 414989 h 1055352"/>
                <a:gd name="connsiteX6" fmla="*/ 939462 w 1093374"/>
                <a:gd name="connsiteY6" fmla="*/ 285838 h 1055352"/>
                <a:gd name="connsiteX7" fmla="*/ 822557 w 1093374"/>
                <a:gd name="connsiteY7" fmla="*/ 193768 h 1055352"/>
                <a:gd name="connsiteX8" fmla="*/ 747894 w 1093374"/>
                <a:gd name="connsiteY8" fmla="*/ 164815 h 1055352"/>
                <a:gd name="connsiteX9" fmla="*/ 716120 w 1093374"/>
                <a:gd name="connsiteY9" fmla="*/ 59593 h 1055352"/>
                <a:gd name="connsiteX10" fmla="*/ 701887 w 1093374"/>
                <a:gd name="connsiteY10" fmla="*/ 25796 h 1055352"/>
                <a:gd name="connsiteX11" fmla="*/ 527126 w 1093374"/>
                <a:gd name="connsiteY11" fmla="*/ 23329 h 1055352"/>
                <a:gd name="connsiteX12" fmla="*/ 515922 w 1093374"/>
                <a:gd name="connsiteY12" fmla="*/ 37944 h 1055352"/>
                <a:gd name="connsiteX13" fmla="*/ 512063 w 1093374"/>
                <a:gd name="connsiteY13" fmla="*/ 62331 h 1055352"/>
                <a:gd name="connsiteX14" fmla="*/ 344925 w 1093374"/>
                <a:gd name="connsiteY14" fmla="*/ 171391 h 1055352"/>
                <a:gd name="connsiteX15" fmla="*/ 22677 w 1093374"/>
                <a:gd name="connsiteY15" fmla="*/ 575197 h 1055352"/>
                <a:gd name="connsiteX16" fmla="*/ 14045 w 1093374"/>
                <a:gd name="connsiteY16" fmla="*/ 638128 h 1055352"/>
                <a:gd name="connsiteX17" fmla="*/ 3944 w 1093374"/>
                <a:gd name="connsiteY17" fmla="*/ 816786 h 1055352"/>
                <a:gd name="connsiteX18" fmla="*/ 26903 w 1093374"/>
                <a:gd name="connsiteY18" fmla="*/ 1058832 h 1055352"/>
                <a:gd name="connsiteX19" fmla="*/ 1093836 w 1093374"/>
                <a:gd name="connsiteY19" fmla="*/ 1058466 h 1055352"/>
                <a:gd name="connsiteX20" fmla="*/ 1097049 w 1093374"/>
                <a:gd name="connsiteY20" fmla="*/ 1054631 h 1055352"/>
                <a:gd name="connsiteX21" fmla="*/ 1075377 w 1093374"/>
                <a:gd name="connsiteY21" fmla="*/ 942833 h 105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93374" h="1055352">
                  <a:moveTo>
                    <a:pt x="1075377" y="942833"/>
                  </a:moveTo>
                  <a:cubicBezTo>
                    <a:pt x="1072346" y="927397"/>
                    <a:pt x="1066378" y="878256"/>
                    <a:pt x="1066286" y="867022"/>
                  </a:cubicBezTo>
                  <a:lnTo>
                    <a:pt x="1066286" y="865744"/>
                  </a:lnTo>
                  <a:cubicBezTo>
                    <a:pt x="1066194" y="846196"/>
                    <a:pt x="1063990" y="817334"/>
                    <a:pt x="1059766" y="780068"/>
                  </a:cubicBezTo>
                  <a:cubicBezTo>
                    <a:pt x="1055450" y="742801"/>
                    <a:pt x="1049020" y="696128"/>
                    <a:pt x="1040480" y="641234"/>
                  </a:cubicBezTo>
                  <a:cubicBezTo>
                    <a:pt x="1040480" y="641234"/>
                    <a:pt x="1000899" y="431339"/>
                    <a:pt x="996307" y="414989"/>
                  </a:cubicBezTo>
                  <a:cubicBezTo>
                    <a:pt x="981707" y="374161"/>
                    <a:pt x="960492" y="328583"/>
                    <a:pt x="939462" y="285838"/>
                  </a:cubicBezTo>
                  <a:cubicBezTo>
                    <a:pt x="910259" y="219069"/>
                    <a:pt x="884361" y="212767"/>
                    <a:pt x="822557" y="193768"/>
                  </a:cubicBezTo>
                  <a:cubicBezTo>
                    <a:pt x="791058" y="190113"/>
                    <a:pt x="763048" y="191850"/>
                    <a:pt x="747894" y="164815"/>
                  </a:cubicBezTo>
                  <a:cubicBezTo>
                    <a:pt x="730814" y="137230"/>
                    <a:pt x="721722" y="88912"/>
                    <a:pt x="716120" y="59593"/>
                  </a:cubicBezTo>
                  <a:cubicBezTo>
                    <a:pt x="711252" y="42054"/>
                    <a:pt x="715936" y="35112"/>
                    <a:pt x="701887" y="25796"/>
                  </a:cubicBezTo>
                  <a:cubicBezTo>
                    <a:pt x="649723" y="-3066"/>
                    <a:pt x="580022" y="-3981"/>
                    <a:pt x="527126" y="23329"/>
                  </a:cubicBezTo>
                  <a:cubicBezTo>
                    <a:pt x="520787" y="27167"/>
                    <a:pt x="516288" y="32463"/>
                    <a:pt x="515922" y="37944"/>
                  </a:cubicBezTo>
                  <a:cubicBezTo>
                    <a:pt x="515371" y="47353"/>
                    <a:pt x="512063" y="62331"/>
                    <a:pt x="512063" y="62331"/>
                  </a:cubicBezTo>
                  <a:cubicBezTo>
                    <a:pt x="494248" y="165727"/>
                    <a:pt x="436668" y="150565"/>
                    <a:pt x="344925" y="171391"/>
                  </a:cubicBezTo>
                  <a:cubicBezTo>
                    <a:pt x="141696" y="245007"/>
                    <a:pt x="49862" y="475182"/>
                    <a:pt x="22677" y="575197"/>
                  </a:cubicBezTo>
                  <a:lnTo>
                    <a:pt x="14045" y="638128"/>
                  </a:lnTo>
                  <a:cubicBezTo>
                    <a:pt x="14045" y="638128"/>
                    <a:pt x="2106" y="735496"/>
                    <a:pt x="3944" y="816786"/>
                  </a:cubicBezTo>
                  <a:cubicBezTo>
                    <a:pt x="5781" y="898076"/>
                    <a:pt x="26903" y="1058832"/>
                    <a:pt x="26903" y="1058832"/>
                  </a:cubicBezTo>
                  <a:lnTo>
                    <a:pt x="1093836" y="1058466"/>
                  </a:lnTo>
                  <a:cubicBezTo>
                    <a:pt x="1095856" y="1058466"/>
                    <a:pt x="1097509" y="1056640"/>
                    <a:pt x="1097049" y="1054631"/>
                  </a:cubicBezTo>
                  <a:cubicBezTo>
                    <a:pt x="1093744" y="1037732"/>
                    <a:pt x="1080613" y="969777"/>
                    <a:pt x="1075377" y="942833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A8046EAC-18EA-6CC8-59EA-9CDC563B81A5}"/>
                </a:ext>
              </a:extLst>
            </p:cNvPr>
            <p:cNvSpPr/>
            <p:nvPr/>
          </p:nvSpPr>
          <p:spPr>
            <a:xfrm>
              <a:off x="7192382" y="3420073"/>
              <a:ext cx="1119708" cy="1039155"/>
            </a:xfrm>
            <a:custGeom>
              <a:avLst/>
              <a:gdLst>
                <a:gd name="connsiteX0" fmla="*/ 235672 w 1119708"/>
                <a:gd name="connsiteY0" fmla="*/ 1042634 h 1039155"/>
                <a:gd name="connsiteX1" fmla="*/ 213356 w 1119708"/>
                <a:gd name="connsiteY1" fmla="*/ 942619 h 1039155"/>
                <a:gd name="connsiteX2" fmla="*/ 219968 w 1119708"/>
                <a:gd name="connsiteY2" fmla="*/ 655178 h 1039155"/>
                <a:gd name="connsiteX3" fmla="*/ 219051 w 1119708"/>
                <a:gd name="connsiteY3" fmla="*/ 605856 h 1039155"/>
                <a:gd name="connsiteX4" fmla="*/ 35840 w 1119708"/>
                <a:gd name="connsiteY4" fmla="*/ 551325 h 1039155"/>
                <a:gd name="connsiteX5" fmla="*/ 51911 w 1119708"/>
                <a:gd name="connsiteY5" fmla="*/ 1021171 h 1039155"/>
                <a:gd name="connsiteX6" fmla="*/ 25647 w 1119708"/>
                <a:gd name="connsiteY6" fmla="*/ 1024732 h 1039155"/>
                <a:gd name="connsiteX7" fmla="*/ 4249 w 1119708"/>
                <a:gd name="connsiteY7" fmla="*/ 819495 h 1039155"/>
                <a:gd name="connsiteX8" fmla="*/ 30790 w 1119708"/>
                <a:gd name="connsiteY8" fmla="*/ 547033 h 1039155"/>
                <a:gd name="connsiteX9" fmla="*/ 24176 w 1119708"/>
                <a:gd name="connsiteY9" fmla="*/ 540000 h 1039155"/>
                <a:gd name="connsiteX10" fmla="*/ 32443 w 1119708"/>
                <a:gd name="connsiteY10" fmla="*/ 462362 h 1039155"/>
                <a:gd name="connsiteX11" fmla="*/ 396198 w 1119708"/>
                <a:gd name="connsiteY11" fmla="*/ 120118 h 1039155"/>
                <a:gd name="connsiteX12" fmla="*/ 423107 w 1119708"/>
                <a:gd name="connsiteY12" fmla="*/ 122950 h 1039155"/>
                <a:gd name="connsiteX13" fmla="*/ 425127 w 1119708"/>
                <a:gd name="connsiteY13" fmla="*/ 124411 h 1039155"/>
                <a:gd name="connsiteX14" fmla="*/ 430728 w 1119708"/>
                <a:gd name="connsiteY14" fmla="*/ 140303 h 1039155"/>
                <a:gd name="connsiteX15" fmla="*/ 490972 w 1119708"/>
                <a:gd name="connsiteY15" fmla="*/ 219038 h 1039155"/>
                <a:gd name="connsiteX16" fmla="*/ 769231 w 1119708"/>
                <a:gd name="connsiteY16" fmla="*/ 161586 h 1039155"/>
                <a:gd name="connsiteX17" fmla="*/ 768128 w 1119708"/>
                <a:gd name="connsiteY17" fmla="*/ 160491 h 1039155"/>
                <a:gd name="connsiteX18" fmla="*/ 722762 w 1119708"/>
                <a:gd name="connsiteY18" fmla="*/ 62575 h 1039155"/>
                <a:gd name="connsiteX19" fmla="*/ 734885 w 1119708"/>
                <a:gd name="connsiteY19" fmla="*/ 51980 h 1039155"/>
                <a:gd name="connsiteX20" fmla="*/ 734885 w 1119708"/>
                <a:gd name="connsiteY20" fmla="*/ 51980 h 1039155"/>
                <a:gd name="connsiteX21" fmla="*/ 738833 w 1119708"/>
                <a:gd name="connsiteY21" fmla="*/ 62666 h 1039155"/>
                <a:gd name="connsiteX22" fmla="*/ 738833 w 1119708"/>
                <a:gd name="connsiteY22" fmla="*/ 62666 h 1039155"/>
                <a:gd name="connsiteX23" fmla="*/ 768955 w 1119708"/>
                <a:gd name="connsiteY23" fmla="*/ 128886 h 1039155"/>
                <a:gd name="connsiteX24" fmla="*/ 768955 w 1119708"/>
                <a:gd name="connsiteY24" fmla="*/ 128886 h 1039155"/>
                <a:gd name="connsiteX25" fmla="*/ 768955 w 1119708"/>
                <a:gd name="connsiteY25" fmla="*/ 128886 h 1039155"/>
                <a:gd name="connsiteX26" fmla="*/ 771987 w 1119708"/>
                <a:gd name="connsiteY26" fmla="*/ 132175 h 1039155"/>
                <a:gd name="connsiteX27" fmla="*/ 776303 w 1119708"/>
                <a:gd name="connsiteY27" fmla="*/ 128248 h 1039155"/>
                <a:gd name="connsiteX28" fmla="*/ 848575 w 1119708"/>
                <a:gd name="connsiteY28" fmla="*/ 143044 h 1039155"/>
                <a:gd name="connsiteX29" fmla="*/ 922319 w 1119708"/>
                <a:gd name="connsiteY29" fmla="*/ 178850 h 1039155"/>
                <a:gd name="connsiteX30" fmla="*/ 1066315 w 1119708"/>
                <a:gd name="connsiteY30" fmla="*/ 454600 h 1039155"/>
                <a:gd name="connsiteX31" fmla="*/ 1118203 w 1119708"/>
                <a:gd name="connsiteY31" fmla="*/ 612341 h 1039155"/>
                <a:gd name="connsiteX32" fmla="*/ 1060530 w 1119708"/>
                <a:gd name="connsiteY32" fmla="*/ 648419 h 1039155"/>
                <a:gd name="connsiteX33" fmla="*/ 1110580 w 1119708"/>
                <a:gd name="connsiteY33" fmla="*/ 967006 h 1039155"/>
                <a:gd name="connsiteX34" fmla="*/ 1110580 w 1119708"/>
                <a:gd name="connsiteY34" fmla="*/ 967006 h 1039155"/>
                <a:gd name="connsiteX35" fmla="*/ 1122610 w 1119708"/>
                <a:gd name="connsiteY35" fmla="*/ 1017882 h 1039155"/>
                <a:gd name="connsiteX36" fmla="*/ 1094784 w 1119708"/>
                <a:gd name="connsiteY36" fmla="*/ 1018522 h 1039155"/>
                <a:gd name="connsiteX37" fmla="*/ 1053643 w 1119708"/>
                <a:gd name="connsiteY37" fmla="*/ 801228 h 1039155"/>
                <a:gd name="connsiteX38" fmla="*/ 1051531 w 1119708"/>
                <a:gd name="connsiteY38" fmla="*/ 651251 h 1039155"/>
                <a:gd name="connsiteX39" fmla="*/ 1022144 w 1119708"/>
                <a:gd name="connsiteY39" fmla="*/ 659745 h 1039155"/>
                <a:gd name="connsiteX40" fmla="*/ 1006349 w 1119708"/>
                <a:gd name="connsiteY40" fmla="*/ 662943 h 1039155"/>
                <a:gd name="connsiteX41" fmla="*/ 982011 w 1119708"/>
                <a:gd name="connsiteY41" fmla="*/ 665043 h 1039155"/>
                <a:gd name="connsiteX42" fmla="*/ 1018929 w 1119708"/>
                <a:gd name="connsiteY42" fmla="*/ 1028568 h 1039155"/>
                <a:gd name="connsiteX43" fmla="*/ 1018837 w 1119708"/>
                <a:gd name="connsiteY43" fmla="*/ 1028568 h 1039155"/>
                <a:gd name="connsiteX44" fmla="*/ 995143 w 1119708"/>
                <a:gd name="connsiteY44" fmla="*/ 1030030 h 1039155"/>
                <a:gd name="connsiteX45" fmla="*/ 921034 w 1119708"/>
                <a:gd name="connsiteY45" fmla="*/ 1032680 h 1039155"/>
                <a:gd name="connsiteX46" fmla="*/ 751416 w 1119708"/>
                <a:gd name="connsiteY46" fmla="*/ 1034963 h 1039155"/>
                <a:gd name="connsiteX47" fmla="*/ 242375 w 1119708"/>
                <a:gd name="connsiteY47" fmla="*/ 1038250 h 1039155"/>
                <a:gd name="connsiteX48" fmla="*/ 235672 w 1119708"/>
                <a:gd name="connsiteY48" fmla="*/ 1042634 h 1039155"/>
                <a:gd name="connsiteX49" fmla="*/ 459841 w 1119708"/>
                <a:gd name="connsiteY49" fmla="*/ 139849 h 1039155"/>
                <a:gd name="connsiteX50" fmla="*/ 455249 w 1119708"/>
                <a:gd name="connsiteY50" fmla="*/ 112539 h 1039155"/>
                <a:gd name="connsiteX51" fmla="*/ 520910 w 1119708"/>
                <a:gd name="connsiteY51" fmla="*/ 21383 h 1039155"/>
                <a:gd name="connsiteX52" fmla="*/ 520910 w 1119708"/>
                <a:gd name="connsiteY52" fmla="*/ 21383 h 1039155"/>
                <a:gd name="connsiteX53" fmla="*/ 527246 w 1119708"/>
                <a:gd name="connsiteY53" fmla="*/ 3479 h 1039155"/>
                <a:gd name="connsiteX54" fmla="*/ 532390 w 1119708"/>
                <a:gd name="connsiteY54" fmla="*/ 41203 h 1039155"/>
                <a:gd name="connsiteX55" fmla="*/ 459841 w 1119708"/>
                <a:gd name="connsiteY55" fmla="*/ 139849 h 103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19708" h="1039155">
                  <a:moveTo>
                    <a:pt x="235672" y="1042634"/>
                  </a:moveTo>
                  <a:cubicBezTo>
                    <a:pt x="214368" y="1036241"/>
                    <a:pt x="216572" y="961527"/>
                    <a:pt x="213356" y="942619"/>
                  </a:cubicBezTo>
                  <a:cubicBezTo>
                    <a:pt x="206928" y="847445"/>
                    <a:pt x="207112" y="747431"/>
                    <a:pt x="219968" y="655178"/>
                  </a:cubicBezTo>
                  <a:cubicBezTo>
                    <a:pt x="219876" y="639011"/>
                    <a:pt x="218867" y="622295"/>
                    <a:pt x="219051" y="605856"/>
                  </a:cubicBezTo>
                  <a:cubicBezTo>
                    <a:pt x="158072" y="592611"/>
                    <a:pt x="91216" y="583842"/>
                    <a:pt x="35840" y="551325"/>
                  </a:cubicBezTo>
                  <a:cubicBezTo>
                    <a:pt x="22616" y="715554"/>
                    <a:pt x="26199" y="866808"/>
                    <a:pt x="51911" y="1021171"/>
                  </a:cubicBezTo>
                  <a:cubicBezTo>
                    <a:pt x="53473" y="1036149"/>
                    <a:pt x="28952" y="1038707"/>
                    <a:pt x="25647" y="1024732"/>
                  </a:cubicBezTo>
                  <a:cubicBezTo>
                    <a:pt x="12881" y="958421"/>
                    <a:pt x="6453" y="887908"/>
                    <a:pt x="4249" y="819495"/>
                  </a:cubicBezTo>
                  <a:cubicBezTo>
                    <a:pt x="1402" y="729163"/>
                    <a:pt x="10861" y="638554"/>
                    <a:pt x="30790" y="547033"/>
                  </a:cubicBezTo>
                  <a:cubicBezTo>
                    <a:pt x="28403" y="544932"/>
                    <a:pt x="26107" y="542649"/>
                    <a:pt x="24176" y="540000"/>
                  </a:cubicBezTo>
                  <a:cubicBezTo>
                    <a:pt x="1126" y="536621"/>
                    <a:pt x="29228" y="476794"/>
                    <a:pt x="32443" y="462362"/>
                  </a:cubicBezTo>
                  <a:cubicBezTo>
                    <a:pt x="85156" y="310468"/>
                    <a:pt x="225020" y="134642"/>
                    <a:pt x="396198" y="120118"/>
                  </a:cubicBezTo>
                  <a:cubicBezTo>
                    <a:pt x="404557" y="115005"/>
                    <a:pt x="415484" y="117469"/>
                    <a:pt x="423107" y="122950"/>
                  </a:cubicBezTo>
                  <a:cubicBezTo>
                    <a:pt x="423107" y="122950"/>
                    <a:pt x="425127" y="124319"/>
                    <a:pt x="425127" y="124411"/>
                  </a:cubicBezTo>
                  <a:cubicBezTo>
                    <a:pt x="430360" y="127791"/>
                    <a:pt x="434311" y="134276"/>
                    <a:pt x="430728" y="140303"/>
                  </a:cubicBezTo>
                  <a:cubicBezTo>
                    <a:pt x="454606" y="163687"/>
                    <a:pt x="463054" y="198944"/>
                    <a:pt x="490972" y="219038"/>
                  </a:cubicBezTo>
                  <a:cubicBezTo>
                    <a:pt x="575092" y="292932"/>
                    <a:pt x="737916" y="282152"/>
                    <a:pt x="769231" y="161586"/>
                  </a:cubicBezTo>
                  <a:cubicBezTo>
                    <a:pt x="769415" y="160946"/>
                    <a:pt x="768864" y="160400"/>
                    <a:pt x="768128" y="160491"/>
                  </a:cubicBezTo>
                  <a:cubicBezTo>
                    <a:pt x="739753" y="164601"/>
                    <a:pt x="723774" y="83766"/>
                    <a:pt x="722762" y="62575"/>
                  </a:cubicBezTo>
                  <a:cubicBezTo>
                    <a:pt x="721753" y="45130"/>
                    <a:pt x="723957" y="17637"/>
                    <a:pt x="734885" y="51980"/>
                  </a:cubicBezTo>
                  <a:lnTo>
                    <a:pt x="734885" y="51980"/>
                  </a:lnTo>
                  <a:cubicBezTo>
                    <a:pt x="736262" y="55544"/>
                    <a:pt x="737457" y="58922"/>
                    <a:pt x="738833" y="62666"/>
                  </a:cubicBezTo>
                  <a:lnTo>
                    <a:pt x="738833" y="62666"/>
                  </a:lnTo>
                  <a:cubicBezTo>
                    <a:pt x="746640" y="84771"/>
                    <a:pt x="756649" y="107514"/>
                    <a:pt x="768955" y="128886"/>
                  </a:cubicBezTo>
                  <a:lnTo>
                    <a:pt x="768955" y="128886"/>
                  </a:lnTo>
                  <a:lnTo>
                    <a:pt x="768955" y="128886"/>
                  </a:lnTo>
                  <a:cubicBezTo>
                    <a:pt x="769507" y="130166"/>
                    <a:pt x="771435" y="133090"/>
                    <a:pt x="771987" y="132175"/>
                  </a:cubicBezTo>
                  <a:cubicBezTo>
                    <a:pt x="772812" y="130715"/>
                    <a:pt x="775292" y="128340"/>
                    <a:pt x="776303" y="128248"/>
                  </a:cubicBezTo>
                  <a:cubicBezTo>
                    <a:pt x="795862" y="126056"/>
                    <a:pt x="826628" y="136834"/>
                    <a:pt x="848575" y="143044"/>
                  </a:cubicBezTo>
                  <a:cubicBezTo>
                    <a:pt x="869238" y="149620"/>
                    <a:pt x="906248" y="163047"/>
                    <a:pt x="922319" y="178850"/>
                  </a:cubicBezTo>
                  <a:cubicBezTo>
                    <a:pt x="999735" y="252376"/>
                    <a:pt x="1036287" y="354948"/>
                    <a:pt x="1066315" y="454600"/>
                  </a:cubicBezTo>
                  <a:cubicBezTo>
                    <a:pt x="1083213" y="507485"/>
                    <a:pt x="1101028" y="559547"/>
                    <a:pt x="1118203" y="612341"/>
                  </a:cubicBezTo>
                  <a:cubicBezTo>
                    <a:pt x="1123711" y="638371"/>
                    <a:pt x="1076601" y="639834"/>
                    <a:pt x="1060530" y="648419"/>
                  </a:cubicBezTo>
                  <a:cubicBezTo>
                    <a:pt x="1089000" y="751632"/>
                    <a:pt x="1078529" y="865622"/>
                    <a:pt x="1110580" y="967006"/>
                  </a:cubicBezTo>
                  <a:lnTo>
                    <a:pt x="1110580" y="967006"/>
                  </a:lnTo>
                  <a:cubicBezTo>
                    <a:pt x="1112967" y="984087"/>
                    <a:pt x="1127018" y="1000437"/>
                    <a:pt x="1122610" y="1017882"/>
                  </a:cubicBezTo>
                  <a:cubicBezTo>
                    <a:pt x="1118938" y="1030670"/>
                    <a:pt x="1097264" y="1033226"/>
                    <a:pt x="1094784" y="1018522"/>
                  </a:cubicBezTo>
                  <a:cubicBezTo>
                    <a:pt x="1069438" y="948738"/>
                    <a:pt x="1056306" y="875576"/>
                    <a:pt x="1053643" y="801228"/>
                  </a:cubicBezTo>
                  <a:cubicBezTo>
                    <a:pt x="1049878" y="747794"/>
                    <a:pt x="1047490" y="699750"/>
                    <a:pt x="1051531" y="651251"/>
                  </a:cubicBezTo>
                  <a:cubicBezTo>
                    <a:pt x="1041336" y="654355"/>
                    <a:pt x="1032244" y="657187"/>
                    <a:pt x="1022144" y="659745"/>
                  </a:cubicBezTo>
                  <a:cubicBezTo>
                    <a:pt x="1017001" y="661297"/>
                    <a:pt x="1011765" y="662943"/>
                    <a:pt x="1006349" y="662943"/>
                  </a:cubicBezTo>
                  <a:cubicBezTo>
                    <a:pt x="998266" y="664220"/>
                    <a:pt x="990094" y="664952"/>
                    <a:pt x="982011" y="665043"/>
                  </a:cubicBezTo>
                  <a:cubicBezTo>
                    <a:pt x="987890" y="790542"/>
                    <a:pt x="1004237" y="908550"/>
                    <a:pt x="1018929" y="1028568"/>
                  </a:cubicBezTo>
                  <a:cubicBezTo>
                    <a:pt x="1018929" y="1028568"/>
                    <a:pt x="1018929" y="1028568"/>
                    <a:pt x="1018837" y="1028568"/>
                  </a:cubicBezTo>
                  <a:cubicBezTo>
                    <a:pt x="1016449" y="1039985"/>
                    <a:pt x="999185" y="1040716"/>
                    <a:pt x="995143" y="1030030"/>
                  </a:cubicBezTo>
                  <a:cubicBezTo>
                    <a:pt x="989542" y="1033866"/>
                    <a:pt x="928655" y="1031948"/>
                    <a:pt x="921034" y="1032680"/>
                  </a:cubicBezTo>
                  <a:cubicBezTo>
                    <a:pt x="868045" y="1033226"/>
                    <a:pt x="805781" y="1034140"/>
                    <a:pt x="751416" y="1034963"/>
                  </a:cubicBezTo>
                  <a:cubicBezTo>
                    <a:pt x="582991" y="1038067"/>
                    <a:pt x="410525" y="1039985"/>
                    <a:pt x="242375" y="1038250"/>
                  </a:cubicBezTo>
                  <a:cubicBezTo>
                    <a:pt x="241183" y="1040899"/>
                    <a:pt x="238611" y="1042543"/>
                    <a:pt x="235672" y="1042634"/>
                  </a:cubicBezTo>
                  <a:close/>
                  <a:moveTo>
                    <a:pt x="459841" y="139849"/>
                  </a:moveTo>
                  <a:cubicBezTo>
                    <a:pt x="446158" y="139483"/>
                    <a:pt x="440739" y="116283"/>
                    <a:pt x="455249" y="112539"/>
                  </a:cubicBezTo>
                  <a:cubicBezTo>
                    <a:pt x="489687" y="94362"/>
                    <a:pt x="510350" y="57553"/>
                    <a:pt x="520910" y="21383"/>
                  </a:cubicBezTo>
                  <a:lnTo>
                    <a:pt x="520910" y="21383"/>
                  </a:lnTo>
                  <a:cubicBezTo>
                    <a:pt x="522930" y="15628"/>
                    <a:pt x="523942" y="8503"/>
                    <a:pt x="527246" y="3479"/>
                  </a:cubicBezTo>
                  <a:cubicBezTo>
                    <a:pt x="533674" y="14441"/>
                    <a:pt x="533858" y="28688"/>
                    <a:pt x="532390" y="41203"/>
                  </a:cubicBezTo>
                  <a:cubicBezTo>
                    <a:pt x="526421" y="82214"/>
                    <a:pt x="497676" y="122676"/>
                    <a:pt x="459841" y="1398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8617E6A4-4B83-B624-2874-18E2418DF6FA}"/>
                </a:ext>
              </a:extLst>
            </p:cNvPr>
            <p:cNvSpPr/>
            <p:nvPr/>
          </p:nvSpPr>
          <p:spPr>
            <a:xfrm>
              <a:off x="7507693" y="2931718"/>
              <a:ext cx="527542" cy="546603"/>
            </a:xfrm>
            <a:custGeom>
              <a:avLst/>
              <a:gdLst>
                <a:gd name="connsiteX0" fmla="*/ 320846 w 527542"/>
                <a:gd name="connsiteY0" fmla="*/ 1322 h 546603"/>
                <a:gd name="connsiteX1" fmla="*/ 57061 w 527542"/>
                <a:gd name="connsiteY1" fmla="*/ 179057 h 546603"/>
                <a:gd name="connsiteX2" fmla="*/ 4090 w 527542"/>
                <a:gd name="connsiteY2" fmla="*/ 422482 h 546603"/>
                <a:gd name="connsiteX3" fmla="*/ 176739 w 527542"/>
                <a:gd name="connsiteY3" fmla="*/ 489707 h 546603"/>
                <a:gd name="connsiteX4" fmla="*/ 315658 w 527542"/>
                <a:gd name="connsiteY4" fmla="*/ 546328 h 546603"/>
                <a:gd name="connsiteX5" fmla="*/ 452978 w 527542"/>
                <a:gd name="connsiteY5" fmla="*/ 511628 h 546603"/>
                <a:gd name="connsiteX6" fmla="*/ 526133 w 527542"/>
                <a:gd name="connsiteY6" fmla="*/ 367624 h 546603"/>
                <a:gd name="connsiteX7" fmla="*/ 498693 w 527542"/>
                <a:gd name="connsiteY7" fmla="*/ 50644 h 546603"/>
                <a:gd name="connsiteX8" fmla="*/ 320846 w 527542"/>
                <a:gd name="connsiteY8" fmla="*/ 1322 h 54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2" h="546603">
                  <a:moveTo>
                    <a:pt x="320846" y="1322"/>
                  </a:moveTo>
                  <a:cubicBezTo>
                    <a:pt x="234044" y="8172"/>
                    <a:pt x="101215" y="119047"/>
                    <a:pt x="57061" y="179057"/>
                  </a:cubicBezTo>
                  <a:cubicBezTo>
                    <a:pt x="12907" y="239066"/>
                    <a:pt x="-9868" y="369871"/>
                    <a:pt x="4090" y="422482"/>
                  </a:cubicBezTo>
                  <a:cubicBezTo>
                    <a:pt x="18049" y="475093"/>
                    <a:pt x="176739" y="489707"/>
                    <a:pt x="176739" y="489707"/>
                  </a:cubicBezTo>
                  <a:cubicBezTo>
                    <a:pt x="176739" y="489707"/>
                    <a:pt x="223805" y="543112"/>
                    <a:pt x="315658" y="546328"/>
                  </a:cubicBezTo>
                  <a:cubicBezTo>
                    <a:pt x="354301" y="547679"/>
                    <a:pt x="416244" y="545241"/>
                    <a:pt x="452978" y="511628"/>
                  </a:cubicBezTo>
                  <a:cubicBezTo>
                    <a:pt x="489711" y="478016"/>
                    <a:pt x="523488" y="402397"/>
                    <a:pt x="526133" y="367624"/>
                  </a:cubicBezTo>
                  <a:cubicBezTo>
                    <a:pt x="528778" y="332852"/>
                    <a:pt x="531193" y="86540"/>
                    <a:pt x="498693" y="50644"/>
                  </a:cubicBezTo>
                  <a:cubicBezTo>
                    <a:pt x="466202" y="14748"/>
                    <a:pt x="407648" y="-5529"/>
                    <a:pt x="320846" y="1322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69" name="Graphic 42" descr="Woman with long wavy hair">
              <a:extLst>
                <a:ext uri="{FF2B5EF4-FFF2-40B4-BE49-F238E27FC236}">
                  <a16:creationId xmlns:a16="http://schemas.microsoft.com/office/drawing/2014/main" id="{2FC46E33-0BA9-BCDA-96AD-5F7CF5BDA659}"/>
                </a:ext>
              </a:extLst>
            </p:cNvPr>
            <p:cNvGrpSpPr/>
            <p:nvPr/>
          </p:nvGrpSpPr>
          <p:grpSpPr>
            <a:xfrm>
              <a:off x="7367021" y="2855779"/>
              <a:ext cx="766599" cy="876721"/>
              <a:chOff x="7367021" y="2972723"/>
              <a:chExt cx="766599" cy="876721"/>
            </a:xfrm>
            <a:solidFill>
              <a:srgbClr val="191246"/>
            </a:solidFill>
          </p:grpSpPr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549F5C42-7505-DD93-5C3D-88D638217455}"/>
                  </a:ext>
                </a:extLst>
              </p:cNvPr>
              <p:cNvSpPr/>
              <p:nvPr/>
            </p:nvSpPr>
            <p:spPr>
              <a:xfrm>
                <a:off x="7581438" y="3350162"/>
                <a:ext cx="39237" cy="47093"/>
              </a:xfrm>
              <a:custGeom>
                <a:avLst/>
                <a:gdLst>
                  <a:gd name="connsiteX0" fmla="*/ 18902 w 39237"/>
                  <a:gd name="connsiteY0" fmla="*/ 21350 h 47093"/>
                  <a:gd name="connsiteX1" fmla="*/ 30216 w 39237"/>
                  <a:gd name="connsiteY1" fmla="*/ 43892 h 47093"/>
                  <a:gd name="connsiteX2" fmla="*/ 39161 w 39237"/>
                  <a:gd name="connsiteY2" fmla="*/ 42687 h 47093"/>
                  <a:gd name="connsiteX3" fmla="*/ 4567 w 39237"/>
                  <a:gd name="connsiteY3" fmla="*/ 205 h 47093"/>
                  <a:gd name="connsiteX4" fmla="*/ 1077 w 39237"/>
                  <a:gd name="connsiteY4" fmla="*/ 6161 h 47093"/>
                  <a:gd name="connsiteX5" fmla="*/ 18902 w 39237"/>
                  <a:gd name="connsiteY5" fmla="*/ 21350 h 47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237" h="47093">
                    <a:moveTo>
                      <a:pt x="18902" y="21350"/>
                    </a:moveTo>
                    <a:cubicBezTo>
                      <a:pt x="25046" y="27908"/>
                      <a:pt x="27204" y="35718"/>
                      <a:pt x="30216" y="43892"/>
                    </a:cubicBezTo>
                    <a:cubicBezTo>
                      <a:pt x="32007" y="48742"/>
                      <a:pt x="38757" y="47875"/>
                      <a:pt x="39161" y="42687"/>
                    </a:cubicBezTo>
                    <a:cubicBezTo>
                      <a:pt x="40630" y="23698"/>
                      <a:pt x="20776" y="6499"/>
                      <a:pt x="4567" y="205"/>
                    </a:cubicBezTo>
                    <a:cubicBezTo>
                      <a:pt x="1279" y="-1073"/>
                      <a:pt x="-1650" y="3950"/>
                      <a:pt x="1077" y="6161"/>
                    </a:cubicBezTo>
                    <a:cubicBezTo>
                      <a:pt x="7221" y="11129"/>
                      <a:pt x="13465" y="15550"/>
                      <a:pt x="18902" y="21350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F0E05A1A-294F-C4A1-8320-BFE618F95377}"/>
                  </a:ext>
                </a:extLst>
              </p:cNvPr>
              <p:cNvSpPr/>
              <p:nvPr/>
            </p:nvSpPr>
            <p:spPr>
              <a:xfrm>
                <a:off x="7367021" y="2972723"/>
                <a:ext cx="766599" cy="876721"/>
              </a:xfrm>
              <a:custGeom>
                <a:avLst/>
                <a:gdLst>
                  <a:gd name="connsiteX0" fmla="*/ 766170 w 766599"/>
                  <a:gd name="connsiteY0" fmla="*/ 533586 h 876721"/>
                  <a:gd name="connsiteX1" fmla="*/ 749043 w 766599"/>
                  <a:gd name="connsiteY1" fmla="*/ 484008 h 876721"/>
                  <a:gd name="connsiteX2" fmla="*/ 725313 w 766599"/>
                  <a:gd name="connsiteY2" fmla="*/ 440942 h 876721"/>
                  <a:gd name="connsiteX3" fmla="*/ 738721 w 766599"/>
                  <a:gd name="connsiteY3" fmla="*/ 394670 h 876721"/>
                  <a:gd name="connsiteX4" fmla="*/ 759365 w 766599"/>
                  <a:gd name="connsiteY4" fmla="*/ 349448 h 876721"/>
                  <a:gd name="connsiteX5" fmla="*/ 741504 w 766599"/>
                  <a:gd name="connsiteY5" fmla="*/ 281593 h 876721"/>
                  <a:gd name="connsiteX6" fmla="*/ 694833 w 766599"/>
                  <a:gd name="connsiteY6" fmla="*/ 234746 h 876721"/>
                  <a:gd name="connsiteX7" fmla="*/ 683923 w 766599"/>
                  <a:gd name="connsiteY7" fmla="*/ 197781 h 876721"/>
                  <a:gd name="connsiteX8" fmla="*/ 694686 w 766599"/>
                  <a:gd name="connsiteY8" fmla="*/ 144942 h 876721"/>
                  <a:gd name="connsiteX9" fmla="*/ 663564 w 766599"/>
                  <a:gd name="connsiteY9" fmla="*/ 50636 h 876721"/>
                  <a:gd name="connsiteX10" fmla="*/ 433435 w 766599"/>
                  <a:gd name="connsiteY10" fmla="*/ 31993 h 876721"/>
                  <a:gd name="connsiteX11" fmla="*/ 256333 w 766599"/>
                  <a:gd name="connsiteY11" fmla="*/ 41200 h 876721"/>
                  <a:gd name="connsiteX12" fmla="*/ 166583 w 766599"/>
                  <a:gd name="connsiteY12" fmla="*/ 87582 h 876721"/>
                  <a:gd name="connsiteX13" fmla="*/ 123696 w 766599"/>
                  <a:gd name="connsiteY13" fmla="*/ 187277 h 876721"/>
                  <a:gd name="connsiteX14" fmla="*/ 101086 w 766599"/>
                  <a:gd name="connsiteY14" fmla="*/ 287759 h 876721"/>
                  <a:gd name="connsiteX15" fmla="*/ 114127 w 766599"/>
                  <a:gd name="connsiteY15" fmla="*/ 341365 h 876721"/>
                  <a:gd name="connsiteX16" fmla="*/ 115128 w 766599"/>
                  <a:gd name="connsiteY16" fmla="*/ 366465 h 876721"/>
                  <a:gd name="connsiteX17" fmla="*/ 110205 w 766599"/>
                  <a:gd name="connsiteY17" fmla="*/ 385975 h 876721"/>
                  <a:gd name="connsiteX18" fmla="*/ 109048 w 766599"/>
                  <a:gd name="connsiteY18" fmla="*/ 388715 h 876721"/>
                  <a:gd name="connsiteX19" fmla="*/ 58154 w 766599"/>
                  <a:gd name="connsiteY19" fmla="*/ 459063 h 876721"/>
                  <a:gd name="connsiteX20" fmla="*/ 22531 w 766599"/>
                  <a:gd name="connsiteY20" fmla="*/ 529348 h 876721"/>
                  <a:gd name="connsiteX21" fmla="*/ 59155 w 766599"/>
                  <a:gd name="connsiteY21" fmla="*/ 605305 h 876721"/>
                  <a:gd name="connsiteX22" fmla="*/ 64637 w 766599"/>
                  <a:gd name="connsiteY22" fmla="*/ 626432 h 876721"/>
                  <a:gd name="connsiteX23" fmla="*/ 54104 w 766599"/>
                  <a:gd name="connsiteY23" fmla="*/ 645275 h 876721"/>
                  <a:gd name="connsiteX24" fmla="*/ 50816 w 766599"/>
                  <a:gd name="connsiteY24" fmla="*/ 648207 h 876721"/>
                  <a:gd name="connsiteX25" fmla="*/ 10813 w 766599"/>
                  <a:gd name="connsiteY25" fmla="*/ 682924 h 876721"/>
                  <a:gd name="connsiteX26" fmla="*/ 316 w 766599"/>
                  <a:gd name="connsiteY26" fmla="*/ 734667 h 876721"/>
                  <a:gd name="connsiteX27" fmla="*/ 9619 w 766599"/>
                  <a:gd name="connsiteY27" fmla="*/ 765677 h 876721"/>
                  <a:gd name="connsiteX28" fmla="*/ 11612 w 766599"/>
                  <a:gd name="connsiteY28" fmla="*/ 769778 h 876721"/>
                  <a:gd name="connsiteX29" fmla="*/ 29951 w 766599"/>
                  <a:gd name="connsiteY29" fmla="*/ 818635 h 876721"/>
                  <a:gd name="connsiteX30" fmla="*/ 106137 w 766599"/>
                  <a:gd name="connsiteY30" fmla="*/ 875675 h 876721"/>
                  <a:gd name="connsiteX31" fmla="*/ 119389 w 766599"/>
                  <a:gd name="connsiteY31" fmla="*/ 868113 h 876721"/>
                  <a:gd name="connsiteX32" fmla="*/ 135065 w 766599"/>
                  <a:gd name="connsiteY32" fmla="*/ 813465 h 876721"/>
                  <a:gd name="connsiteX33" fmla="*/ 149235 w 766599"/>
                  <a:gd name="connsiteY33" fmla="*/ 796111 h 876721"/>
                  <a:gd name="connsiteX34" fmla="*/ 221518 w 766599"/>
                  <a:gd name="connsiteY34" fmla="*/ 864514 h 876721"/>
                  <a:gd name="connsiteX35" fmla="*/ 223309 w 766599"/>
                  <a:gd name="connsiteY35" fmla="*/ 864249 h 876721"/>
                  <a:gd name="connsiteX36" fmla="*/ 235431 w 766599"/>
                  <a:gd name="connsiteY36" fmla="*/ 860404 h 876721"/>
                  <a:gd name="connsiteX37" fmla="*/ 242493 w 766599"/>
                  <a:gd name="connsiteY37" fmla="*/ 856440 h 876721"/>
                  <a:gd name="connsiteX38" fmla="*/ 244119 w 766599"/>
                  <a:gd name="connsiteY38" fmla="*/ 855353 h 876721"/>
                  <a:gd name="connsiteX39" fmla="*/ 237369 w 766599"/>
                  <a:gd name="connsiteY39" fmla="*/ 843871 h 876721"/>
                  <a:gd name="connsiteX40" fmla="*/ 234008 w 766599"/>
                  <a:gd name="connsiteY40" fmla="*/ 845205 h 876721"/>
                  <a:gd name="connsiteX41" fmla="*/ 232299 w 766599"/>
                  <a:gd name="connsiteY41" fmla="*/ 845689 h 876721"/>
                  <a:gd name="connsiteX42" fmla="*/ 218634 w 766599"/>
                  <a:gd name="connsiteY42" fmla="*/ 825430 h 876721"/>
                  <a:gd name="connsiteX43" fmla="*/ 215154 w 766599"/>
                  <a:gd name="connsiteY43" fmla="*/ 810058 h 876721"/>
                  <a:gd name="connsiteX44" fmla="*/ 220407 w 766599"/>
                  <a:gd name="connsiteY44" fmla="*/ 785588 h 876721"/>
                  <a:gd name="connsiteX45" fmla="*/ 230747 w 766599"/>
                  <a:gd name="connsiteY45" fmla="*/ 770207 h 876721"/>
                  <a:gd name="connsiteX46" fmla="*/ 245671 w 766599"/>
                  <a:gd name="connsiteY46" fmla="*/ 759036 h 876721"/>
                  <a:gd name="connsiteX47" fmla="*/ 284884 w 766599"/>
                  <a:gd name="connsiteY47" fmla="*/ 734722 h 876721"/>
                  <a:gd name="connsiteX48" fmla="*/ 289485 w 766599"/>
                  <a:gd name="connsiteY48" fmla="*/ 731398 h 876721"/>
                  <a:gd name="connsiteX49" fmla="*/ 301478 w 766599"/>
                  <a:gd name="connsiteY49" fmla="*/ 724702 h 876721"/>
                  <a:gd name="connsiteX50" fmla="*/ 314326 w 766599"/>
                  <a:gd name="connsiteY50" fmla="*/ 710773 h 876721"/>
                  <a:gd name="connsiteX51" fmla="*/ 316705 w 766599"/>
                  <a:gd name="connsiteY51" fmla="*/ 707366 h 876721"/>
                  <a:gd name="connsiteX52" fmla="*/ 340793 w 766599"/>
                  <a:gd name="connsiteY52" fmla="*/ 673708 h 876721"/>
                  <a:gd name="connsiteX53" fmla="*/ 357810 w 766599"/>
                  <a:gd name="connsiteY53" fmla="*/ 605095 h 876721"/>
                  <a:gd name="connsiteX54" fmla="*/ 480914 w 766599"/>
                  <a:gd name="connsiteY54" fmla="*/ 630195 h 876721"/>
                  <a:gd name="connsiteX55" fmla="*/ 523544 w 766599"/>
                  <a:gd name="connsiteY55" fmla="*/ 626770 h 876721"/>
                  <a:gd name="connsiteX56" fmla="*/ 530780 w 766599"/>
                  <a:gd name="connsiteY56" fmla="*/ 625372 h 876721"/>
                  <a:gd name="connsiteX57" fmla="*/ 530881 w 766599"/>
                  <a:gd name="connsiteY57" fmla="*/ 628468 h 876721"/>
                  <a:gd name="connsiteX58" fmla="*/ 526133 w 766599"/>
                  <a:gd name="connsiteY58" fmla="*/ 669717 h 876721"/>
                  <a:gd name="connsiteX59" fmla="*/ 534867 w 766599"/>
                  <a:gd name="connsiteY59" fmla="*/ 696515 h 876721"/>
                  <a:gd name="connsiteX60" fmla="*/ 548807 w 766599"/>
                  <a:gd name="connsiteY60" fmla="*/ 708846 h 876721"/>
                  <a:gd name="connsiteX61" fmla="*/ 562858 w 766599"/>
                  <a:gd name="connsiteY61" fmla="*/ 723625 h 876721"/>
                  <a:gd name="connsiteX62" fmla="*/ 580215 w 766599"/>
                  <a:gd name="connsiteY62" fmla="*/ 737051 h 876721"/>
                  <a:gd name="connsiteX63" fmla="*/ 596148 w 766599"/>
                  <a:gd name="connsiteY63" fmla="*/ 756607 h 876721"/>
                  <a:gd name="connsiteX64" fmla="*/ 611549 w 766599"/>
                  <a:gd name="connsiteY64" fmla="*/ 810524 h 876721"/>
                  <a:gd name="connsiteX65" fmla="*/ 610841 w 766599"/>
                  <a:gd name="connsiteY65" fmla="*/ 822900 h 876721"/>
                  <a:gd name="connsiteX66" fmla="*/ 611301 w 766599"/>
                  <a:gd name="connsiteY66" fmla="*/ 826334 h 876721"/>
                  <a:gd name="connsiteX67" fmla="*/ 603531 w 766599"/>
                  <a:gd name="connsiteY67" fmla="*/ 863546 h 876721"/>
                  <a:gd name="connsiteX68" fmla="*/ 617472 w 766599"/>
                  <a:gd name="connsiteY68" fmla="*/ 874205 h 876721"/>
                  <a:gd name="connsiteX69" fmla="*/ 647438 w 766599"/>
                  <a:gd name="connsiteY69" fmla="*/ 840309 h 876721"/>
                  <a:gd name="connsiteX70" fmla="*/ 663297 w 766599"/>
                  <a:gd name="connsiteY70" fmla="*/ 813976 h 876721"/>
                  <a:gd name="connsiteX71" fmla="*/ 674354 w 766599"/>
                  <a:gd name="connsiteY71" fmla="*/ 799572 h 876721"/>
                  <a:gd name="connsiteX72" fmla="*/ 688065 w 766599"/>
                  <a:gd name="connsiteY72" fmla="*/ 760955 h 876721"/>
                  <a:gd name="connsiteX73" fmla="*/ 675098 w 766599"/>
                  <a:gd name="connsiteY73" fmla="*/ 706837 h 876721"/>
                  <a:gd name="connsiteX74" fmla="*/ 673647 w 766599"/>
                  <a:gd name="connsiteY74" fmla="*/ 705156 h 876721"/>
                  <a:gd name="connsiteX75" fmla="*/ 679093 w 766599"/>
                  <a:gd name="connsiteY75" fmla="*/ 698991 h 876721"/>
                  <a:gd name="connsiteX76" fmla="*/ 704908 w 766599"/>
                  <a:gd name="connsiteY76" fmla="*/ 669479 h 876721"/>
                  <a:gd name="connsiteX77" fmla="*/ 737472 w 766599"/>
                  <a:gd name="connsiteY77" fmla="*/ 626724 h 876721"/>
                  <a:gd name="connsiteX78" fmla="*/ 766170 w 766599"/>
                  <a:gd name="connsiteY78" fmla="*/ 533586 h 876721"/>
                  <a:gd name="connsiteX79" fmla="*/ 189275 w 766599"/>
                  <a:gd name="connsiteY79" fmla="*/ 400315 h 876721"/>
                  <a:gd name="connsiteX80" fmla="*/ 205576 w 766599"/>
                  <a:gd name="connsiteY80" fmla="*/ 362912 h 876721"/>
                  <a:gd name="connsiteX81" fmla="*/ 233980 w 766599"/>
                  <a:gd name="connsiteY81" fmla="*/ 361313 h 876721"/>
                  <a:gd name="connsiteX82" fmla="*/ 249968 w 766599"/>
                  <a:gd name="connsiteY82" fmla="*/ 373818 h 876721"/>
                  <a:gd name="connsiteX83" fmla="*/ 259115 w 766599"/>
                  <a:gd name="connsiteY83" fmla="*/ 390633 h 876721"/>
                  <a:gd name="connsiteX84" fmla="*/ 263982 w 766599"/>
                  <a:gd name="connsiteY84" fmla="*/ 390003 h 876721"/>
                  <a:gd name="connsiteX85" fmla="*/ 264561 w 766599"/>
                  <a:gd name="connsiteY85" fmla="*/ 386203 h 876721"/>
                  <a:gd name="connsiteX86" fmla="*/ 266967 w 766599"/>
                  <a:gd name="connsiteY86" fmla="*/ 390414 h 876721"/>
                  <a:gd name="connsiteX87" fmla="*/ 240206 w 766599"/>
                  <a:gd name="connsiteY87" fmla="*/ 462754 h 876721"/>
                  <a:gd name="connsiteX88" fmla="*/ 233512 w 766599"/>
                  <a:gd name="connsiteY88" fmla="*/ 467430 h 876721"/>
                  <a:gd name="connsiteX89" fmla="*/ 228351 w 766599"/>
                  <a:gd name="connsiteY89" fmla="*/ 462242 h 876721"/>
                  <a:gd name="connsiteX90" fmla="*/ 199110 w 766599"/>
                  <a:gd name="connsiteY90" fmla="*/ 445819 h 876721"/>
                  <a:gd name="connsiteX91" fmla="*/ 189275 w 766599"/>
                  <a:gd name="connsiteY91" fmla="*/ 400315 h 876721"/>
                  <a:gd name="connsiteX92" fmla="*/ 500814 w 766599"/>
                  <a:gd name="connsiteY92" fmla="*/ 612722 h 876721"/>
                  <a:gd name="connsiteX93" fmla="*/ 362576 w 766599"/>
                  <a:gd name="connsiteY93" fmla="*/ 590216 h 876721"/>
                  <a:gd name="connsiteX94" fmla="*/ 357846 w 766599"/>
                  <a:gd name="connsiteY94" fmla="*/ 587613 h 876721"/>
                  <a:gd name="connsiteX95" fmla="*/ 345109 w 766599"/>
                  <a:gd name="connsiteY95" fmla="*/ 579703 h 876721"/>
                  <a:gd name="connsiteX96" fmla="*/ 335751 w 766599"/>
                  <a:gd name="connsiteY96" fmla="*/ 572990 h 876721"/>
                  <a:gd name="connsiteX97" fmla="*/ 270842 w 766599"/>
                  <a:gd name="connsiteY97" fmla="*/ 498138 h 876721"/>
                  <a:gd name="connsiteX98" fmla="*/ 268308 w 766599"/>
                  <a:gd name="connsiteY98" fmla="*/ 494210 h 876721"/>
                  <a:gd name="connsiteX99" fmla="*/ 324382 w 766599"/>
                  <a:gd name="connsiteY99" fmla="*/ 395730 h 876721"/>
                  <a:gd name="connsiteX100" fmla="*/ 329102 w 766599"/>
                  <a:gd name="connsiteY100" fmla="*/ 333455 h 876721"/>
                  <a:gd name="connsiteX101" fmla="*/ 317017 w 766599"/>
                  <a:gd name="connsiteY101" fmla="*/ 294984 h 876721"/>
                  <a:gd name="connsiteX102" fmla="*/ 331674 w 766599"/>
                  <a:gd name="connsiteY102" fmla="*/ 241341 h 876721"/>
                  <a:gd name="connsiteX103" fmla="*/ 417814 w 766599"/>
                  <a:gd name="connsiteY103" fmla="*/ 161748 h 876721"/>
                  <a:gd name="connsiteX104" fmla="*/ 611328 w 766599"/>
                  <a:gd name="connsiteY104" fmla="*/ 187643 h 876721"/>
                  <a:gd name="connsiteX105" fmla="*/ 618739 w 766599"/>
                  <a:gd name="connsiteY105" fmla="*/ 241213 h 876721"/>
                  <a:gd name="connsiteX106" fmla="*/ 631210 w 766599"/>
                  <a:gd name="connsiteY106" fmla="*/ 263481 h 876721"/>
                  <a:gd name="connsiteX107" fmla="*/ 636922 w 766599"/>
                  <a:gd name="connsiteY107" fmla="*/ 294061 h 876721"/>
                  <a:gd name="connsiteX108" fmla="*/ 651809 w 766599"/>
                  <a:gd name="connsiteY108" fmla="*/ 367963 h 876721"/>
                  <a:gd name="connsiteX109" fmla="*/ 633947 w 766599"/>
                  <a:gd name="connsiteY109" fmla="*/ 514743 h 876721"/>
                  <a:gd name="connsiteX110" fmla="*/ 568093 w 766599"/>
                  <a:gd name="connsiteY110" fmla="*/ 591157 h 876721"/>
                  <a:gd name="connsiteX111" fmla="*/ 541111 w 766599"/>
                  <a:gd name="connsiteY111" fmla="*/ 604721 h 876721"/>
                  <a:gd name="connsiteX112" fmla="*/ 500814 w 766599"/>
                  <a:gd name="connsiteY112" fmla="*/ 612722 h 876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766599" h="876721">
                    <a:moveTo>
                      <a:pt x="766170" y="533586"/>
                    </a:moveTo>
                    <a:cubicBezTo>
                      <a:pt x="764563" y="515949"/>
                      <a:pt x="758263" y="499079"/>
                      <a:pt x="749043" y="484008"/>
                    </a:cubicBezTo>
                    <a:cubicBezTo>
                      <a:pt x="740448" y="469969"/>
                      <a:pt x="729381" y="457218"/>
                      <a:pt x="725313" y="440942"/>
                    </a:cubicBezTo>
                    <a:cubicBezTo>
                      <a:pt x="720969" y="423597"/>
                      <a:pt x="729721" y="408782"/>
                      <a:pt x="738721" y="394670"/>
                    </a:cubicBezTo>
                    <a:cubicBezTo>
                      <a:pt x="747941" y="380229"/>
                      <a:pt x="755729" y="366337"/>
                      <a:pt x="759365" y="349448"/>
                    </a:cubicBezTo>
                    <a:cubicBezTo>
                      <a:pt x="764802" y="324139"/>
                      <a:pt x="758181" y="301085"/>
                      <a:pt x="741504" y="281593"/>
                    </a:cubicBezTo>
                    <a:cubicBezTo>
                      <a:pt x="727159" y="264824"/>
                      <a:pt x="707911" y="252667"/>
                      <a:pt x="694833" y="234746"/>
                    </a:cubicBezTo>
                    <a:cubicBezTo>
                      <a:pt x="686816" y="223758"/>
                      <a:pt x="681912" y="211537"/>
                      <a:pt x="683923" y="197781"/>
                    </a:cubicBezTo>
                    <a:cubicBezTo>
                      <a:pt x="686568" y="179760"/>
                      <a:pt x="693842" y="163347"/>
                      <a:pt x="694686" y="144942"/>
                    </a:cubicBezTo>
                    <a:cubicBezTo>
                      <a:pt x="696229" y="111549"/>
                      <a:pt x="687872" y="73543"/>
                      <a:pt x="663564" y="50636"/>
                    </a:cubicBezTo>
                    <a:cubicBezTo>
                      <a:pt x="560957" y="-46046"/>
                      <a:pt x="439947" y="23983"/>
                      <a:pt x="433435" y="31993"/>
                    </a:cubicBezTo>
                    <a:cubicBezTo>
                      <a:pt x="415831" y="5432"/>
                      <a:pt x="311626" y="-14543"/>
                      <a:pt x="256333" y="41200"/>
                    </a:cubicBezTo>
                    <a:cubicBezTo>
                      <a:pt x="222785" y="47987"/>
                      <a:pt x="190928" y="63624"/>
                      <a:pt x="166583" y="87582"/>
                    </a:cubicBezTo>
                    <a:cubicBezTo>
                      <a:pt x="139565" y="114179"/>
                      <a:pt x="125230" y="149938"/>
                      <a:pt x="123696" y="187277"/>
                    </a:cubicBezTo>
                    <a:cubicBezTo>
                      <a:pt x="105632" y="217794"/>
                      <a:pt x="95999" y="252502"/>
                      <a:pt x="101086" y="287759"/>
                    </a:cubicBezTo>
                    <a:cubicBezTo>
                      <a:pt x="103713" y="305990"/>
                      <a:pt x="110619" y="323308"/>
                      <a:pt x="114127" y="341365"/>
                    </a:cubicBezTo>
                    <a:cubicBezTo>
                      <a:pt x="115752" y="349732"/>
                      <a:pt x="116101" y="358180"/>
                      <a:pt x="115128" y="366465"/>
                    </a:cubicBezTo>
                    <a:cubicBezTo>
                      <a:pt x="114035" y="372539"/>
                      <a:pt x="112455" y="379115"/>
                      <a:pt x="110205" y="385975"/>
                    </a:cubicBezTo>
                    <a:cubicBezTo>
                      <a:pt x="109838" y="386897"/>
                      <a:pt x="109452" y="387811"/>
                      <a:pt x="109048" y="388715"/>
                    </a:cubicBezTo>
                    <a:cubicBezTo>
                      <a:pt x="97293" y="415139"/>
                      <a:pt x="76080" y="436759"/>
                      <a:pt x="58154" y="459063"/>
                    </a:cubicBezTo>
                    <a:cubicBezTo>
                      <a:pt x="41734" y="479487"/>
                      <a:pt x="24441" y="502321"/>
                      <a:pt x="22531" y="529348"/>
                    </a:cubicBezTo>
                    <a:cubicBezTo>
                      <a:pt x="20382" y="559618"/>
                      <a:pt x="45995" y="580744"/>
                      <a:pt x="59155" y="605305"/>
                    </a:cubicBezTo>
                    <a:cubicBezTo>
                      <a:pt x="62617" y="611772"/>
                      <a:pt x="65023" y="619079"/>
                      <a:pt x="64637" y="626432"/>
                    </a:cubicBezTo>
                    <a:cubicBezTo>
                      <a:pt x="62525" y="631994"/>
                      <a:pt x="59155" y="638260"/>
                      <a:pt x="54104" y="645275"/>
                    </a:cubicBezTo>
                    <a:cubicBezTo>
                      <a:pt x="52992" y="646298"/>
                      <a:pt x="51881" y="647275"/>
                      <a:pt x="50816" y="648207"/>
                    </a:cubicBezTo>
                    <a:cubicBezTo>
                      <a:pt x="37353" y="659871"/>
                      <a:pt x="21153" y="667945"/>
                      <a:pt x="10813" y="682924"/>
                    </a:cubicBezTo>
                    <a:cubicBezTo>
                      <a:pt x="1170" y="696890"/>
                      <a:pt x="-905" y="718281"/>
                      <a:pt x="316" y="734667"/>
                    </a:cubicBezTo>
                    <a:cubicBezTo>
                      <a:pt x="1134" y="745573"/>
                      <a:pt x="4026" y="756488"/>
                      <a:pt x="9619" y="765677"/>
                    </a:cubicBezTo>
                    <a:cubicBezTo>
                      <a:pt x="10244" y="767029"/>
                      <a:pt x="10914" y="768399"/>
                      <a:pt x="11612" y="769778"/>
                    </a:cubicBezTo>
                    <a:cubicBezTo>
                      <a:pt x="12245" y="787260"/>
                      <a:pt x="19445" y="804888"/>
                      <a:pt x="29951" y="818635"/>
                    </a:cubicBezTo>
                    <a:cubicBezTo>
                      <a:pt x="49383" y="844072"/>
                      <a:pt x="77650" y="861792"/>
                      <a:pt x="106137" y="875675"/>
                    </a:cubicBezTo>
                    <a:cubicBezTo>
                      <a:pt x="112217" y="878644"/>
                      <a:pt x="119086" y="875036"/>
                      <a:pt x="119389" y="868113"/>
                    </a:cubicBezTo>
                    <a:cubicBezTo>
                      <a:pt x="120261" y="848621"/>
                      <a:pt x="124293" y="829997"/>
                      <a:pt x="135065" y="813465"/>
                    </a:cubicBezTo>
                    <a:cubicBezTo>
                      <a:pt x="139133" y="807217"/>
                      <a:pt x="143991" y="801509"/>
                      <a:pt x="149235" y="796111"/>
                    </a:cubicBezTo>
                    <a:cubicBezTo>
                      <a:pt x="157427" y="830006"/>
                      <a:pt x="186961" y="868898"/>
                      <a:pt x="221518" y="864514"/>
                    </a:cubicBezTo>
                    <a:cubicBezTo>
                      <a:pt x="221619" y="864505"/>
                      <a:pt x="223226" y="864267"/>
                      <a:pt x="223309" y="864249"/>
                    </a:cubicBezTo>
                    <a:cubicBezTo>
                      <a:pt x="227294" y="863573"/>
                      <a:pt x="231344" y="862322"/>
                      <a:pt x="235431" y="860404"/>
                    </a:cubicBezTo>
                    <a:cubicBezTo>
                      <a:pt x="238002" y="859499"/>
                      <a:pt x="240408" y="858148"/>
                      <a:pt x="242493" y="856440"/>
                    </a:cubicBezTo>
                    <a:cubicBezTo>
                      <a:pt x="243035" y="856083"/>
                      <a:pt x="243577" y="855727"/>
                      <a:pt x="244119" y="855353"/>
                    </a:cubicBezTo>
                    <a:cubicBezTo>
                      <a:pt x="251245" y="850393"/>
                      <a:pt x="245202" y="840364"/>
                      <a:pt x="237369" y="843871"/>
                    </a:cubicBezTo>
                    <a:cubicBezTo>
                      <a:pt x="236239" y="844374"/>
                      <a:pt x="235119" y="844812"/>
                      <a:pt x="234008" y="845205"/>
                    </a:cubicBezTo>
                    <a:cubicBezTo>
                      <a:pt x="233420" y="845378"/>
                      <a:pt x="232850" y="845543"/>
                      <a:pt x="232299" y="845689"/>
                    </a:cubicBezTo>
                    <a:cubicBezTo>
                      <a:pt x="223777" y="844803"/>
                      <a:pt x="220930" y="832756"/>
                      <a:pt x="218634" y="825430"/>
                    </a:cubicBezTo>
                    <a:cubicBezTo>
                      <a:pt x="217064" y="820425"/>
                      <a:pt x="215788" y="815255"/>
                      <a:pt x="215154" y="810058"/>
                    </a:cubicBezTo>
                    <a:cubicBezTo>
                      <a:pt x="215374" y="801774"/>
                      <a:pt x="216577" y="792868"/>
                      <a:pt x="220407" y="785588"/>
                    </a:cubicBezTo>
                    <a:cubicBezTo>
                      <a:pt x="223309" y="780072"/>
                      <a:pt x="226863" y="775021"/>
                      <a:pt x="230747" y="770207"/>
                    </a:cubicBezTo>
                    <a:cubicBezTo>
                      <a:pt x="235367" y="766015"/>
                      <a:pt x="240546" y="762361"/>
                      <a:pt x="245671" y="759036"/>
                    </a:cubicBezTo>
                    <a:cubicBezTo>
                      <a:pt x="258601" y="750661"/>
                      <a:pt x="272266" y="743609"/>
                      <a:pt x="284884" y="734722"/>
                    </a:cubicBezTo>
                    <a:cubicBezTo>
                      <a:pt x="286427" y="733635"/>
                      <a:pt x="287960" y="732521"/>
                      <a:pt x="289485" y="731398"/>
                    </a:cubicBezTo>
                    <a:cubicBezTo>
                      <a:pt x="293700" y="729918"/>
                      <a:pt x="297732" y="727680"/>
                      <a:pt x="301478" y="724702"/>
                    </a:cubicBezTo>
                    <a:cubicBezTo>
                      <a:pt x="306511" y="720702"/>
                      <a:pt x="310487" y="715879"/>
                      <a:pt x="314326" y="710773"/>
                    </a:cubicBezTo>
                    <a:cubicBezTo>
                      <a:pt x="315198" y="709613"/>
                      <a:pt x="315970" y="708490"/>
                      <a:pt x="316705" y="707366"/>
                    </a:cubicBezTo>
                    <a:cubicBezTo>
                      <a:pt x="326145" y="697283"/>
                      <a:pt x="334364" y="686103"/>
                      <a:pt x="340793" y="673708"/>
                    </a:cubicBezTo>
                    <a:cubicBezTo>
                      <a:pt x="351831" y="652445"/>
                      <a:pt x="356781" y="628843"/>
                      <a:pt x="357810" y="605095"/>
                    </a:cubicBezTo>
                    <a:cubicBezTo>
                      <a:pt x="395517" y="624459"/>
                      <a:pt x="438523" y="631282"/>
                      <a:pt x="480914" y="630195"/>
                    </a:cubicBezTo>
                    <a:cubicBezTo>
                      <a:pt x="495112" y="629829"/>
                      <a:pt x="509484" y="628898"/>
                      <a:pt x="523544" y="626770"/>
                    </a:cubicBezTo>
                    <a:cubicBezTo>
                      <a:pt x="525968" y="626404"/>
                      <a:pt x="528383" y="625920"/>
                      <a:pt x="530780" y="625372"/>
                    </a:cubicBezTo>
                    <a:cubicBezTo>
                      <a:pt x="530808" y="626368"/>
                      <a:pt x="530844" y="627391"/>
                      <a:pt x="530881" y="628468"/>
                    </a:cubicBezTo>
                    <a:cubicBezTo>
                      <a:pt x="527327" y="641941"/>
                      <a:pt x="525086" y="655815"/>
                      <a:pt x="526133" y="669717"/>
                    </a:cubicBezTo>
                    <a:cubicBezTo>
                      <a:pt x="526850" y="679225"/>
                      <a:pt x="529449" y="688560"/>
                      <a:pt x="534867" y="696515"/>
                    </a:cubicBezTo>
                    <a:cubicBezTo>
                      <a:pt x="538164" y="701366"/>
                      <a:pt x="543132" y="706645"/>
                      <a:pt x="548807" y="708846"/>
                    </a:cubicBezTo>
                    <a:cubicBezTo>
                      <a:pt x="552618" y="714445"/>
                      <a:pt x="557752" y="719377"/>
                      <a:pt x="562858" y="723625"/>
                    </a:cubicBezTo>
                    <a:cubicBezTo>
                      <a:pt x="568478" y="728301"/>
                      <a:pt x="574594" y="732366"/>
                      <a:pt x="580215" y="737051"/>
                    </a:cubicBezTo>
                    <a:cubicBezTo>
                      <a:pt x="586845" y="742577"/>
                      <a:pt x="591749" y="749245"/>
                      <a:pt x="596148" y="756607"/>
                    </a:cubicBezTo>
                    <a:cubicBezTo>
                      <a:pt x="605910" y="772947"/>
                      <a:pt x="610750" y="791599"/>
                      <a:pt x="611549" y="810524"/>
                    </a:cubicBezTo>
                    <a:cubicBezTo>
                      <a:pt x="611383" y="814680"/>
                      <a:pt x="611145" y="818808"/>
                      <a:pt x="610841" y="822900"/>
                    </a:cubicBezTo>
                    <a:cubicBezTo>
                      <a:pt x="610750" y="824142"/>
                      <a:pt x="610933" y="825284"/>
                      <a:pt x="611301" y="826334"/>
                    </a:cubicBezTo>
                    <a:cubicBezTo>
                      <a:pt x="610355" y="839085"/>
                      <a:pt x="607682" y="851699"/>
                      <a:pt x="603531" y="863546"/>
                    </a:cubicBezTo>
                    <a:cubicBezTo>
                      <a:pt x="600887" y="871099"/>
                      <a:pt x="610750" y="878954"/>
                      <a:pt x="617472" y="874205"/>
                    </a:cubicBezTo>
                    <a:cubicBezTo>
                      <a:pt x="629787" y="865509"/>
                      <a:pt x="639025" y="852576"/>
                      <a:pt x="647438" y="840309"/>
                    </a:cubicBezTo>
                    <a:cubicBezTo>
                      <a:pt x="653232" y="831851"/>
                      <a:pt x="658531" y="823046"/>
                      <a:pt x="663297" y="813976"/>
                    </a:cubicBezTo>
                    <a:cubicBezTo>
                      <a:pt x="667917" y="809912"/>
                      <a:pt x="671709" y="804039"/>
                      <a:pt x="674354" y="799572"/>
                    </a:cubicBezTo>
                    <a:cubicBezTo>
                      <a:pt x="681279" y="787890"/>
                      <a:pt x="685898" y="774308"/>
                      <a:pt x="688065" y="760955"/>
                    </a:cubicBezTo>
                    <a:cubicBezTo>
                      <a:pt x="690940" y="743208"/>
                      <a:pt x="689525" y="718711"/>
                      <a:pt x="675098" y="706837"/>
                    </a:cubicBezTo>
                    <a:cubicBezTo>
                      <a:pt x="674621" y="706270"/>
                      <a:pt x="674143" y="705704"/>
                      <a:pt x="673647" y="705156"/>
                    </a:cubicBezTo>
                    <a:cubicBezTo>
                      <a:pt x="675530" y="703183"/>
                      <a:pt x="677348" y="701128"/>
                      <a:pt x="679093" y="698991"/>
                    </a:cubicBezTo>
                    <a:cubicBezTo>
                      <a:pt x="688221" y="689656"/>
                      <a:pt x="696514" y="679399"/>
                      <a:pt x="704908" y="669479"/>
                    </a:cubicBezTo>
                    <a:cubicBezTo>
                      <a:pt x="716479" y="655797"/>
                      <a:pt x="727582" y="641667"/>
                      <a:pt x="737472" y="626724"/>
                    </a:cubicBezTo>
                    <a:cubicBezTo>
                      <a:pt x="755637" y="599249"/>
                      <a:pt x="769219" y="567071"/>
                      <a:pt x="766170" y="533586"/>
                    </a:cubicBezTo>
                    <a:close/>
                    <a:moveTo>
                      <a:pt x="189275" y="400315"/>
                    </a:moveTo>
                    <a:cubicBezTo>
                      <a:pt x="189890" y="387043"/>
                      <a:pt x="194004" y="370968"/>
                      <a:pt x="205576" y="362912"/>
                    </a:cubicBezTo>
                    <a:cubicBezTo>
                      <a:pt x="213960" y="357075"/>
                      <a:pt x="224833" y="357285"/>
                      <a:pt x="233980" y="361313"/>
                    </a:cubicBezTo>
                    <a:cubicBezTo>
                      <a:pt x="240280" y="364090"/>
                      <a:pt x="245459" y="368748"/>
                      <a:pt x="249968" y="373818"/>
                    </a:cubicBezTo>
                    <a:cubicBezTo>
                      <a:pt x="254450" y="378859"/>
                      <a:pt x="255938" y="384943"/>
                      <a:pt x="259115" y="390633"/>
                    </a:cubicBezTo>
                    <a:cubicBezTo>
                      <a:pt x="260226" y="392633"/>
                      <a:pt x="263422" y="392204"/>
                      <a:pt x="263982" y="390003"/>
                    </a:cubicBezTo>
                    <a:cubicBezTo>
                      <a:pt x="264304" y="388742"/>
                      <a:pt x="264487" y="387473"/>
                      <a:pt x="264561" y="386203"/>
                    </a:cubicBezTo>
                    <a:lnTo>
                      <a:pt x="266967" y="390414"/>
                    </a:lnTo>
                    <a:cubicBezTo>
                      <a:pt x="262568" y="413741"/>
                      <a:pt x="254386" y="438659"/>
                      <a:pt x="240206" y="462754"/>
                    </a:cubicBezTo>
                    <a:cubicBezTo>
                      <a:pt x="238002" y="464352"/>
                      <a:pt x="235771" y="465905"/>
                      <a:pt x="233512" y="467430"/>
                    </a:cubicBezTo>
                    <a:cubicBezTo>
                      <a:pt x="233337" y="464818"/>
                      <a:pt x="231289" y="462178"/>
                      <a:pt x="228351" y="462242"/>
                    </a:cubicBezTo>
                    <a:cubicBezTo>
                      <a:pt x="215071" y="462516"/>
                      <a:pt x="205906" y="457200"/>
                      <a:pt x="199110" y="445819"/>
                    </a:cubicBezTo>
                    <a:cubicBezTo>
                      <a:pt x="191075" y="432365"/>
                      <a:pt x="188568" y="415733"/>
                      <a:pt x="189275" y="400315"/>
                    </a:cubicBezTo>
                    <a:close/>
                    <a:moveTo>
                      <a:pt x="500814" y="612722"/>
                    </a:moveTo>
                    <a:cubicBezTo>
                      <a:pt x="453758" y="616668"/>
                      <a:pt x="404893" y="612594"/>
                      <a:pt x="362576" y="590216"/>
                    </a:cubicBezTo>
                    <a:cubicBezTo>
                      <a:pt x="360978" y="589376"/>
                      <a:pt x="359408" y="588499"/>
                      <a:pt x="357846" y="587613"/>
                    </a:cubicBezTo>
                    <a:cubicBezTo>
                      <a:pt x="357057" y="580854"/>
                      <a:pt x="350399" y="578214"/>
                      <a:pt x="345109" y="579703"/>
                    </a:cubicBezTo>
                    <a:cubicBezTo>
                      <a:pt x="341932" y="577547"/>
                      <a:pt x="338800" y="575319"/>
                      <a:pt x="335751" y="572990"/>
                    </a:cubicBezTo>
                    <a:cubicBezTo>
                      <a:pt x="322591" y="539733"/>
                      <a:pt x="294802" y="508514"/>
                      <a:pt x="270842" y="498138"/>
                    </a:cubicBezTo>
                    <a:cubicBezTo>
                      <a:pt x="269998" y="496832"/>
                      <a:pt x="269153" y="495526"/>
                      <a:pt x="268308" y="494210"/>
                    </a:cubicBezTo>
                    <a:cubicBezTo>
                      <a:pt x="280439" y="481624"/>
                      <a:pt x="321544" y="434768"/>
                      <a:pt x="324382" y="395730"/>
                    </a:cubicBezTo>
                    <a:cubicBezTo>
                      <a:pt x="331600" y="376064"/>
                      <a:pt x="331811" y="352892"/>
                      <a:pt x="329102" y="333455"/>
                    </a:cubicBezTo>
                    <a:cubicBezTo>
                      <a:pt x="327247" y="320138"/>
                      <a:pt x="323179" y="306976"/>
                      <a:pt x="317017" y="294984"/>
                    </a:cubicBezTo>
                    <a:cubicBezTo>
                      <a:pt x="322169" y="285247"/>
                      <a:pt x="330278" y="266267"/>
                      <a:pt x="331674" y="241341"/>
                    </a:cubicBezTo>
                    <a:cubicBezTo>
                      <a:pt x="331674" y="241341"/>
                      <a:pt x="408062" y="227969"/>
                      <a:pt x="417814" y="161748"/>
                    </a:cubicBezTo>
                    <a:cubicBezTo>
                      <a:pt x="470050" y="200567"/>
                      <a:pt x="578874" y="206047"/>
                      <a:pt x="611328" y="187643"/>
                    </a:cubicBezTo>
                    <a:cubicBezTo>
                      <a:pt x="611328" y="187643"/>
                      <a:pt x="613982" y="227786"/>
                      <a:pt x="618739" y="241213"/>
                    </a:cubicBezTo>
                    <a:cubicBezTo>
                      <a:pt x="621623" y="249333"/>
                      <a:pt x="626013" y="256685"/>
                      <a:pt x="631210" y="263481"/>
                    </a:cubicBezTo>
                    <a:cubicBezTo>
                      <a:pt x="632340" y="273638"/>
                      <a:pt x="634223" y="283758"/>
                      <a:pt x="636922" y="294061"/>
                    </a:cubicBezTo>
                    <a:cubicBezTo>
                      <a:pt x="643314" y="318439"/>
                      <a:pt x="649329" y="342836"/>
                      <a:pt x="651809" y="367963"/>
                    </a:cubicBezTo>
                    <a:cubicBezTo>
                      <a:pt x="656593" y="416600"/>
                      <a:pt x="653379" y="469175"/>
                      <a:pt x="633947" y="514743"/>
                    </a:cubicBezTo>
                    <a:cubicBezTo>
                      <a:pt x="618693" y="539121"/>
                      <a:pt x="596726" y="568185"/>
                      <a:pt x="568093" y="591157"/>
                    </a:cubicBezTo>
                    <a:cubicBezTo>
                      <a:pt x="559497" y="596454"/>
                      <a:pt x="550488" y="601131"/>
                      <a:pt x="541111" y="604721"/>
                    </a:cubicBezTo>
                    <a:cubicBezTo>
                      <a:pt x="527997" y="609744"/>
                      <a:pt x="514737" y="611553"/>
                      <a:pt x="500814" y="612722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C0C51ABF-03BA-FFE5-65AE-0A2708A44772}"/>
                </a:ext>
              </a:extLst>
            </p:cNvPr>
            <p:cNvSpPr/>
            <p:nvPr/>
          </p:nvSpPr>
          <p:spPr>
            <a:xfrm>
              <a:off x="7809199" y="3352496"/>
              <a:ext cx="114058" cy="67585"/>
            </a:xfrm>
            <a:custGeom>
              <a:avLst/>
              <a:gdLst>
                <a:gd name="connsiteX0" fmla="*/ 0 w 114058"/>
                <a:gd name="connsiteY0" fmla="*/ 11386 h 67585"/>
                <a:gd name="connsiteX1" fmla="*/ 53723 w 114058"/>
                <a:gd name="connsiteY1" fmla="*/ 700 h 67585"/>
                <a:gd name="connsiteX2" fmla="*/ 71355 w 114058"/>
                <a:gd name="connsiteY2" fmla="*/ 13579 h 67585"/>
                <a:gd name="connsiteX3" fmla="*/ 85131 w 114058"/>
                <a:gd name="connsiteY3" fmla="*/ 6454 h 67585"/>
                <a:gd name="connsiteX4" fmla="*/ 114058 w 114058"/>
                <a:gd name="connsiteY4" fmla="*/ 26731 h 67585"/>
                <a:gd name="connsiteX5" fmla="*/ 58682 w 114058"/>
                <a:gd name="connsiteY5" fmla="*/ 67285 h 67585"/>
                <a:gd name="connsiteX6" fmla="*/ 0 w 114058"/>
                <a:gd name="connsiteY6" fmla="*/ 11386 h 67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58" h="67585">
                  <a:moveTo>
                    <a:pt x="0" y="11386"/>
                  </a:moveTo>
                  <a:cubicBezTo>
                    <a:pt x="0" y="6509"/>
                    <a:pt x="41601" y="-2588"/>
                    <a:pt x="53723" y="700"/>
                  </a:cubicBezTo>
                  <a:cubicBezTo>
                    <a:pt x="63072" y="3239"/>
                    <a:pt x="69151" y="13579"/>
                    <a:pt x="71355" y="13579"/>
                  </a:cubicBezTo>
                  <a:cubicBezTo>
                    <a:pt x="73559" y="13579"/>
                    <a:pt x="80172" y="7002"/>
                    <a:pt x="85131" y="6454"/>
                  </a:cubicBezTo>
                  <a:cubicBezTo>
                    <a:pt x="90090" y="5906"/>
                    <a:pt x="114058" y="16867"/>
                    <a:pt x="114058" y="26731"/>
                  </a:cubicBezTo>
                  <a:cubicBezTo>
                    <a:pt x="114058" y="37144"/>
                    <a:pt x="93396" y="71122"/>
                    <a:pt x="58682" y="67285"/>
                  </a:cubicBezTo>
                  <a:cubicBezTo>
                    <a:pt x="23969" y="63449"/>
                    <a:pt x="0" y="26457"/>
                    <a:pt x="0" y="11386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02C3EF88-B438-0C9A-037E-2E9BF901E0DA}"/>
                </a:ext>
              </a:extLst>
            </p:cNvPr>
            <p:cNvSpPr/>
            <p:nvPr/>
          </p:nvSpPr>
          <p:spPr>
            <a:xfrm>
              <a:off x="7803097" y="3348243"/>
              <a:ext cx="125240" cy="74636"/>
            </a:xfrm>
            <a:custGeom>
              <a:avLst/>
              <a:gdLst>
                <a:gd name="connsiteX0" fmla="*/ 123034 w 125240"/>
                <a:gd name="connsiteY0" fmla="*/ 26106 h 74636"/>
                <a:gd name="connsiteX1" fmla="*/ 114476 w 125240"/>
                <a:gd name="connsiteY1" fmla="*/ 18105 h 74636"/>
                <a:gd name="connsiteX2" fmla="*/ 100654 w 125240"/>
                <a:gd name="connsiteY2" fmla="*/ 9401 h 74636"/>
                <a:gd name="connsiteX3" fmla="*/ 78550 w 125240"/>
                <a:gd name="connsiteY3" fmla="*/ 13547 h 74636"/>
                <a:gd name="connsiteX4" fmla="*/ 49760 w 125240"/>
                <a:gd name="connsiteY4" fmla="*/ 66 h 74636"/>
                <a:gd name="connsiteX5" fmla="*/ 3144 w 125240"/>
                <a:gd name="connsiteY5" fmla="*/ 11237 h 74636"/>
                <a:gd name="connsiteX6" fmla="*/ 2869 w 125240"/>
                <a:gd name="connsiteY6" fmla="*/ 11392 h 74636"/>
                <a:gd name="connsiteX7" fmla="*/ 1519 w 125240"/>
                <a:gd name="connsiteY7" fmla="*/ 17530 h 74636"/>
                <a:gd name="connsiteX8" fmla="*/ 43644 w 125240"/>
                <a:gd name="connsiteY8" fmla="*/ 69099 h 74636"/>
                <a:gd name="connsiteX9" fmla="*/ 116441 w 125240"/>
                <a:gd name="connsiteY9" fmla="*/ 49772 h 74636"/>
                <a:gd name="connsiteX10" fmla="*/ 123402 w 125240"/>
                <a:gd name="connsiteY10" fmla="*/ 36620 h 74636"/>
                <a:gd name="connsiteX11" fmla="*/ 124449 w 125240"/>
                <a:gd name="connsiteY11" fmla="*/ 31815 h 74636"/>
                <a:gd name="connsiteX12" fmla="*/ 124559 w 125240"/>
                <a:gd name="connsiteY12" fmla="*/ 31130 h 74636"/>
                <a:gd name="connsiteX13" fmla="*/ 124761 w 125240"/>
                <a:gd name="connsiteY13" fmla="*/ 30883 h 74636"/>
                <a:gd name="connsiteX14" fmla="*/ 123034 w 125240"/>
                <a:gd name="connsiteY14" fmla="*/ 26106 h 74636"/>
                <a:gd name="connsiteX15" fmla="*/ 60109 w 125240"/>
                <a:gd name="connsiteY15" fmla="*/ 12159 h 74636"/>
                <a:gd name="connsiteX16" fmla="*/ 75776 w 125240"/>
                <a:gd name="connsiteY16" fmla="*/ 22051 h 74636"/>
                <a:gd name="connsiteX17" fmla="*/ 80047 w 125240"/>
                <a:gd name="connsiteY17" fmla="*/ 20644 h 74636"/>
                <a:gd name="connsiteX18" fmla="*/ 104842 w 125240"/>
                <a:gd name="connsiteY18" fmla="*/ 20882 h 74636"/>
                <a:gd name="connsiteX19" fmla="*/ 114439 w 125240"/>
                <a:gd name="connsiteY19" fmla="*/ 27559 h 74636"/>
                <a:gd name="connsiteX20" fmla="*/ 104355 w 125240"/>
                <a:gd name="connsiteY20" fmla="*/ 30482 h 74636"/>
                <a:gd name="connsiteX21" fmla="*/ 84987 w 125240"/>
                <a:gd name="connsiteY21" fmla="*/ 32400 h 74636"/>
                <a:gd name="connsiteX22" fmla="*/ 47363 w 125240"/>
                <a:gd name="connsiteY22" fmla="*/ 26664 h 74636"/>
                <a:gd name="connsiteX23" fmla="*/ 16653 w 125240"/>
                <a:gd name="connsiteY23" fmla="*/ 16827 h 74636"/>
                <a:gd name="connsiteX24" fmla="*/ 16589 w 125240"/>
                <a:gd name="connsiteY24" fmla="*/ 16753 h 74636"/>
                <a:gd name="connsiteX25" fmla="*/ 16470 w 125240"/>
                <a:gd name="connsiteY25" fmla="*/ 16753 h 74636"/>
                <a:gd name="connsiteX26" fmla="*/ 14909 w 125240"/>
                <a:gd name="connsiteY26" fmla="*/ 16132 h 74636"/>
                <a:gd name="connsiteX27" fmla="*/ 42624 w 125240"/>
                <a:gd name="connsiteY27" fmla="*/ 11967 h 74636"/>
                <a:gd name="connsiteX28" fmla="*/ 60109 w 125240"/>
                <a:gd name="connsiteY28" fmla="*/ 12159 h 74636"/>
                <a:gd name="connsiteX29" fmla="*/ 108644 w 125240"/>
                <a:gd name="connsiteY29" fmla="*/ 46603 h 74636"/>
                <a:gd name="connsiteX30" fmla="*/ 67906 w 125240"/>
                <a:gd name="connsiteY30" fmla="*/ 66725 h 74636"/>
                <a:gd name="connsiteX31" fmla="*/ 10455 w 125240"/>
                <a:gd name="connsiteY31" fmla="*/ 22672 h 74636"/>
                <a:gd name="connsiteX32" fmla="*/ 47592 w 125240"/>
                <a:gd name="connsiteY32" fmla="*/ 38017 h 74636"/>
                <a:gd name="connsiteX33" fmla="*/ 88395 w 125240"/>
                <a:gd name="connsiteY33" fmla="*/ 43790 h 74636"/>
                <a:gd name="connsiteX34" fmla="*/ 113135 w 125240"/>
                <a:gd name="connsiteY34" fmla="*/ 39360 h 74636"/>
                <a:gd name="connsiteX35" fmla="*/ 108644 w 125240"/>
                <a:gd name="connsiteY35" fmla="*/ 46603 h 7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5240" h="74636">
                  <a:moveTo>
                    <a:pt x="123034" y="26106"/>
                  </a:moveTo>
                  <a:cubicBezTo>
                    <a:pt x="120959" y="23001"/>
                    <a:pt x="117249" y="20279"/>
                    <a:pt x="114476" y="18105"/>
                  </a:cubicBezTo>
                  <a:cubicBezTo>
                    <a:pt x="110214" y="14781"/>
                    <a:pt x="105659" y="11511"/>
                    <a:pt x="100654" y="9401"/>
                  </a:cubicBezTo>
                  <a:cubicBezTo>
                    <a:pt x="92022" y="5775"/>
                    <a:pt x="84345" y="7620"/>
                    <a:pt x="78550" y="13547"/>
                  </a:cubicBezTo>
                  <a:cubicBezTo>
                    <a:pt x="73820" y="3400"/>
                    <a:pt x="60771" y="-573"/>
                    <a:pt x="49760" y="66"/>
                  </a:cubicBezTo>
                  <a:cubicBezTo>
                    <a:pt x="34295" y="970"/>
                    <a:pt x="17599" y="5912"/>
                    <a:pt x="3144" y="11237"/>
                  </a:cubicBezTo>
                  <a:cubicBezTo>
                    <a:pt x="3044" y="11273"/>
                    <a:pt x="2961" y="11337"/>
                    <a:pt x="2869" y="11392"/>
                  </a:cubicBezTo>
                  <a:cubicBezTo>
                    <a:pt x="187" y="11894"/>
                    <a:pt x="-1300" y="15648"/>
                    <a:pt x="1519" y="17530"/>
                  </a:cubicBezTo>
                  <a:cubicBezTo>
                    <a:pt x="7250" y="38939"/>
                    <a:pt x="23440" y="59874"/>
                    <a:pt x="43644" y="69099"/>
                  </a:cubicBezTo>
                  <a:cubicBezTo>
                    <a:pt x="69816" y="81046"/>
                    <a:pt x="100076" y="73237"/>
                    <a:pt x="116441" y="49772"/>
                  </a:cubicBezTo>
                  <a:cubicBezTo>
                    <a:pt x="119251" y="45744"/>
                    <a:pt x="121887" y="41305"/>
                    <a:pt x="123402" y="36620"/>
                  </a:cubicBezTo>
                  <a:cubicBezTo>
                    <a:pt x="123916" y="35021"/>
                    <a:pt x="124219" y="33468"/>
                    <a:pt x="124449" y="31815"/>
                  </a:cubicBezTo>
                  <a:cubicBezTo>
                    <a:pt x="124467" y="31696"/>
                    <a:pt x="124513" y="31431"/>
                    <a:pt x="124559" y="31130"/>
                  </a:cubicBezTo>
                  <a:cubicBezTo>
                    <a:pt x="124623" y="31048"/>
                    <a:pt x="124697" y="30966"/>
                    <a:pt x="124761" y="30883"/>
                  </a:cubicBezTo>
                  <a:cubicBezTo>
                    <a:pt x="125927" y="29276"/>
                    <a:pt x="124816" y="26755"/>
                    <a:pt x="123034" y="26106"/>
                  </a:cubicBezTo>
                  <a:close/>
                  <a:moveTo>
                    <a:pt x="60109" y="12159"/>
                  </a:moveTo>
                  <a:cubicBezTo>
                    <a:pt x="66281" y="13931"/>
                    <a:pt x="70386" y="18872"/>
                    <a:pt x="75776" y="22051"/>
                  </a:cubicBezTo>
                  <a:cubicBezTo>
                    <a:pt x="77218" y="22901"/>
                    <a:pt x="79422" y="22179"/>
                    <a:pt x="80047" y="20644"/>
                  </a:cubicBezTo>
                  <a:cubicBezTo>
                    <a:pt x="88532" y="12990"/>
                    <a:pt x="95723" y="14516"/>
                    <a:pt x="104842" y="20882"/>
                  </a:cubicBezTo>
                  <a:cubicBezTo>
                    <a:pt x="107386" y="22654"/>
                    <a:pt x="110821" y="25659"/>
                    <a:pt x="114439" y="27559"/>
                  </a:cubicBezTo>
                  <a:cubicBezTo>
                    <a:pt x="111059" y="28545"/>
                    <a:pt x="107680" y="29733"/>
                    <a:pt x="104355" y="30482"/>
                  </a:cubicBezTo>
                  <a:cubicBezTo>
                    <a:pt x="98037" y="31916"/>
                    <a:pt x="91453" y="32418"/>
                    <a:pt x="84987" y="32400"/>
                  </a:cubicBezTo>
                  <a:cubicBezTo>
                    <a:pt x="72259" y="32372"/>
                    <a:pt x="59623" y="29915"/>
                    <a:pt x="47363" y="26664"/>
                  </a:cubicBezTo>
                  <a:cubicBezTo>
                    <a:pt x="37142" y="23951"/>
                    <a:pt x="26654" y="20809"/>
                    <a:pt x="16653" y="16827"/>
                  </a:cubicBezTo>
                  <a:cubicBezTo>
                    <a:pt x="16653" y="16790"/>
                    <a:pt x="16635" y="16753"/>
                    <a:pt x="16589" y="16753"/>
                  </a:cubicBezTo>
                  <a:cubicBezTo>
                    <a:pt x="16552" y="16753"/>
                    <a:pt x="16516" y="16753"/>
                    <a:pt x="16470" y="16753"/>
                  </a:cubicBezTo>
                  <a:cubicBezTo>
                    <a:pt x="15946" y="16543"/>
                    <a:pt x="15423" y="16342"/>
                    <a:pt x="14909" y="16132"/>
                  </a:cubicBezTo>
                  <a:cubicBezTo>
                    <a:pt x="24211" y="15931"/>
                    <a:pt x="33716" y="13410"/>
                    <a:pt x="42624" y="11967"/>
                  </a:cubicBezTo>
                  <a:cubicBezTo>
                    <a:pt x="48373" y="11036"/>
                    <a:pt x="54434" y="10533"/>
                    <a:pt x="60109" y="12159"/>
                  </a:cubicBezTo>
                  <a:close/>
                  <a:moveTo>
                    <a:pt x="108644" y="46603"/>
                  </a:moveTo>
                  <a:cubicBezTo>
                    <a:pt x="98992" y="59774"/>
                    <a:pt x="84335" y="67072"/>
                    <a:pt x="67906" y="66725"/>
                  </a:cubicBezTo>
                  <a:cubicBezTo>
                    <a:pt x="40007" y="66140"/>
                    <a:pt x="22347" y="45306"/>
                    <a:pt x="10455" y="22672"/>
                  </a:cubicBezTo>
                  <a:cubicBezTo>
                    <a:pt x="22255" y="29057"/>
                    <a:pt x="34699" y="34236"/>
                    <a:pt x="47592" y="38017"/>
                  </a:cubicBezTo>
                  <a:cubicBezTo>
                    <a:pt x="60725" y="41871"/>
                    <a:pt x="74665" y="44155"/>
                    <a:pt x="88395" y="43790"/>
                  </a:cubicBezTo>
                  <a:cubicBezTo>
                    <a:pt x="95760" y="43589"/>
                    <a:pt x="105237" y="42593"/>
                    <a:pt x="113135" y="39360"/>
                  </a:cubicBezTo>
                  <a:cubicBezTo>
                    <a:pt x="111766" y="41844"/>
                    <a:pt x="110343" y="44292"/>
                    <a:pt x="108644" y="46603"/>
                  </a:cubicBezTo>
                  <a:close/>
                </a:path>
              </a:pathLst>
            </a:custGeom>
            <a:solidFill>
              <a:srgbClr val="191246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7D17CCBB-9EC1-92BD-8464-727440DC0E5D}"/>
                </a:ext>
              </a:extLst>
            </p:cNvPr>
            <p:cNvSpPr/>
            <p:nvPr/>
          </p:nvSpPr>
          <p:spPr>
            <a:xfrm>
              <a:off x="7859227" y="3245678"/>
              <a:ext cx="58539" cy="71856"/>
            </a:xfrm>
            <a:custGeom>
              <a:avLst/>
              <a:gdLst>
                <a:gd name="connsiteX0" fmla="*/ 4182 w 58539"/>
                <a:gd name="connsiteY0" fmla="*/ 66306 h 71856"/>
                <a:gd name="connsiteX1" fmla="*/ 57097 w 58539"/>
                <a:gd name="connsiteY1" fmla="*/ 55857 h 71856"/>
                <a:gd name="connsiteX2" fmla="*/ 54847 w 58539"/>
                <a:gd name="connsiteY2" fmla="*/ 41773 h 71856"/>
                <a:gd name="connsiteX3" fmla="*/ 46527 w 58539"/>
                <a:gd name="connsiteY3" fmla="*/ 26218 h 71856"/>
                <a:gd name="connsiteX4" fmla="*/ 33091 w 58539"/>
                <a:gd name="connsiteY4" fmla="*/ 1401 h 71856"/>
                <a:gd name="connsiteX5" fmla="*/ 28013 w 58539"/>
                <a:gd name="connsiteY5" fmla="*/ 1401 h 71856"/>
                <a:gd name="connsiteX6" fmla="*/ 29785 w 58539"/>
                <a:gd name="connsiteY6" fmla="*/ 17184 h 71856"/>
                <a:gd name="connsiteX7" fmla="*/ 41503 w 58539"/>
                <a:gd name="connsiteY7" fmla="*/ 40786 h 71856"/>
                <a:gd name="connsiteX8" fmla="*/ 41265 w 58539"/>
                <a:gd name="connsiteY8" fmla="*/ 48760 h 71856"/>
                <a:gd name="connsiteX9" fmla="*/ 32963 w 58539"/>
                <a:gd name="connsiteY9" fmla="*/ 53345 h 71856"/>
                <a:gd name="connsiteX10" fmla="*/ 12869 w 58539"/>
                <a:gd name="connsiteY10" fmla="*/ 51518 h 71856"/>
                <a:gd name="connsiteX11" fmla="*/ 4182 w 58539"/>
                <a:gd name="connsiteY11" fmla="*/ 66306 h 71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539" h="71856">
                  <a:moveTo>
                    <a:pt x="4182" y="66306"/>
                  </a:moveTo>
                  <a:cubicBezTo>
                    <a:pt x="20170" y="75595"/>
                    <a:pt x="47399" y="73942"/>
                    <a:pt x="57097" y="55857"/>
                  </a:cubicBezTo>
                  <a:cubicBezTo>
                    <a:pt x="60017" y="50413"/>
                    <a:pt x="58116" y="46303"/>
                    <a:pt x="54847" y="41773"/>
                  </a:cubicBezTo>
                  <a:cubicBezTo>
                    <a:pt x="51412" y="37014"/>
                    <a:pt x="49006" y="31497"/>
                    <a:pt x="46527" y="26218"/>
                  </a:cubicBezTo>
                  <a:cubicBezTo>
                    <a:pt x="42532" y="17678"/>
                    <a:pt x="38390" y="8827"/>
                    <a:pt x="33091" y="1401"/>
                  </a:cubicBezTo>
                  <a:cubicBezTo>
                    <a:pt x="31723" y="-517"/>
                    <a:pt x="29400" y="-416"/>
                    <a:pt x="28013" y="1401"/>
                  </a:cubicBezTo>
                  <a:cubicBezTo>
                    <a:pt x="24101" y="6516"/>
                    <a:pt x="27324" y="11905"/>
                    <a:pt x="29785" y="17184"/>
                  </a:cubicBezTo>
                  <a:cubicBezTo>
                    <a:pt x="33486" y="25149"/>
                    <a:pt x="37959" y="32748"/>
                    <a:pt x="41503" y="40786"/>
                  </a:cubicBezTo>
                  <a:cubicBezTo>
                    <a:pt x="43285" y="44842"/>
                    <a:pt x="44773" y="45983"/>
                    <a:pt x="41265" y="48760"/>
                  </a:cubicBezTo>
                  <a:cubicBezTo>
                    <a:pt x="38767" y="50733"/>
                    <a:pt x="36003" y="52359"/>
                    <a:pt x="32963" y="53345"/>
                  </a:cubicBezTo>
                  <a:cubicBezTo>
                    <a:pt x="26176" y="55537"/>
                    <a:pt x="19087" y="55008"/>
                    <a:pt x="12869" y="51518"/>
                  </a:cubicBezTo>
                  <a:cubicBezTo>
                    <a:pt x="3199" y="46111"/>
                    <a:pt x="-5406" y="60744"/>
                    <a:pt x="4182" y="6630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6CBB54AB-6356-499D-297C-9310EF5C6012}"/>
                </a:ext>
              </a:extLst>
            </p:cNvPr>
            <p:cNvSpPr/>
            <p:nvPr/>
          </p:nvSpPr>
          <p:spPr>
            <a:xfrm>
              <a:off x="7737416" y="3150760"/>
              <a:ext cx="90248" cy="35029"/>
            </a:xfrm>
            <a:custGeom>
              <a:avLst/>
              <a:gdLst>
                <a:gd name="connsiteX0" fmla="*/ 8785 w 90248"/>
                <a:gd name="connsiteY0" fmla="*/ 33688 h 35029"/>
                <a:gd name="connsiteX1" fmla="*/ 50092 w 90248"/>
                <a:gd name="connsiteY1" fmla="*/ 12333 h 35029"/>
                <a:gd name="connsiteX2" fmla="*/ 70452 w 90248"/>
                <a:gd name="connsiteY2" fmla="*/ 15850 h 35029"/>
                <a:gd name="connsiteX3" fmla="*/ 82620 w 90248"/>
                <a:gd name="connsiteY3" fmla="*/ 27888 h 35029"/>
                <a:gd name="connsiteX4" fmla="*/ 89590 w 90248"/>
                <a:gd name="connsiteY4" fmla="*/ 25066 h 35029"/>
                <a:gd name="connsiteX5" fmla="*/ 80003 w 90248"/>
                <a:gd name="connsiteY5" fmla="*/ 7273 h 35029"/>
                <a:gd name="connsiteX6" fmla="*/ 53655 w 90248"/>
                <a:gd name="connsiteY6" fmla="*/ 48 h 35029"/>
                <a:gd name="connsiteX7" fmla="*/ 1585 w 90248"/>
                <a:gd name="connsiteY7" fmla="*/ 26527 h 35029"/>
                <a:gd name="connsiteX8" fmla="*/ 8785 w 90248"/>
                <a:gd name="connsiteY8" fmla="*/ 33688 h 35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48" h="35029">
                  <a:moveTo>
                    <a:pt x="8785" y="33688"/>
                  </a:moveTo>
                  <a:cubicBezTo>
                    <a:pt x="20558" y="23367"/>
                    <a:pt x="33911" y="13657"/>
                    <a:pt x="50092" y="12333"/>
                  </a:cubicBezTo>
                  <a:cubicBezTo>
                    <a:pt x="56998" y="11776"/>
                    <a:pt x="64280" y="12516"/>
                    <a:pt x="70452" y="15850"/>
                  </a:cubicBezTo>
                  <a:cubicBezTo>
                    <a:pt x="76026" y="18864"/>
                    <a:pt x="77734" y="24481"/>
                    <a:pt x="82620" y="27888"/>
                  </a:cubicBezTo>
                  <a:cubicBezTo>
                    <a:pt x="85412" y="29833"/>
                    <a:pt x="88516" y="27614"/>
                    <a:pt x="89590" y="25066"/>
                  </a:cubicBezTo>
                  <a:cubicBezTo>
                    <a:pt x="92492" y="18170"/>
                    <a:pt x="85164" y="10890"/>
                    <a:pt x="80003" y="7273"/>
                  </a:cubicBezTo>
                  <a:cubicBezTo>
                    <a:pt x="72417" y="1957"/>
                    <a:pt x="62857" y="-372"/>
                    <a:pt x="53655" y="48"/>
                  </a:cubicBezTo>
                  <a:cubicBezTo>
                    <a:pt x="32891" y="1007"/>
                    <a:pt x="16168" y="12808"/>
                    <a:pt x="1585" y="26527"/>
                  </a:cubicBezTo>
                  <a:cubicBezTo>
                    <a:pt x="-3200" y="31048"/>
                    <a:pt x="3918" y="37963"/>
                    <a:pt x="8785" y="33688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23E3A1B5-54B4-B15D-222A-62CECF66C768}"/>
                </a:ext>
              </a:extLst>
            </p:cNvPr>
            <p:cNvSpPr/>
            <p:nvPr/>
          </p:nvSpPr>
          <p:spPr>
            <a:xfrm>
              <a:off x="7905787" y="3150691"/>
              <a:ext cx="78640" cy="45409"/>
            </a:xfrm>
            <a:custGeom>
              <a:avLst/>
              <a:gdLst>
                <a:gd name="connsiteX0" fmla="*/ 7506 w 78640"/>
                <a:gd name="connsiteY0" fmla="*/ 19801 h 45409"/>
                <a:gd name="connsiteX1" fmla="*/ 47023 w 78640"/>
                <a:gd name="connsiteY1" fmla="*/ 15682 h 45409"/>
                <a:gd name="connsiteX2" fmla="*/ 62524 w 78640"/>
                <a:gd name="connsiteY2" fmla="*/ 28350 h 45409"/>
                <a:gd name="connsiteX3" fmla="*/ 71451 w 78640"/>
                <a:gd name="connsiteY3" fmla="*/ 44864 h 45409"/>
                <a:gd name="connsiteX4" fmla="*/ 76557 w 78640"/>
                <a:gd name="connsiteY4" fmla="*/ 43531 h 45409"/>
                <a:gd name="connsiteX5" fmla="*/ 70615 w 78640"/>
                <a:gd name="connsiteY5" fmla="*/ 18239 h 45409"/>
                <a:gd name="connsiteX6" fmla="*/ 49153 w 78640"/>
                <a:gd name="connsiteY6" fmla="*/ 3260 h 45409"/>
                <a:gd name="connsiteX7" fmla="*/ 518 w 78640"/>
                <a:gd name="connsiteY7" fmla="*/ 14421 h 45409"/>
                <a:gd name="connsiteX8" fmla="*/ 7506 w 78640"/>
                <a:gd name="connsiteY8" fmla="*/ 19801 h 4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40" h="45409">
                  <a:moveTo>
                    <a:pt x="7506" y="19801"/>
                  </a:moveTo>
                  <a:cubicBezTo>
                    <a:pt x="15680" y="9443"/>
                    <a:pt x="36269" y="11151"/>
                    <a:pt x="47023" y="15682"/>
                  </a:cubicBezTo>
                  <a:cubicBezTo>
                    <a:pt x="53332" y="18340"/>
                    <a:pt x="58897" y="22486"/>
                    <a:pt x="62524" y="28350"/>
                  </a:cubicBezTo>
                  <a:cubicBezTo>
                    <a:pt x="65941" y="33876"/>
                    <a:pt x="65830" y="40946"/>
                    <a:pt x="71451" y="44864"/>
                  </a:cubicBezTo>
                  <a:cubicBezTo>
                    <a:pt x="73242" y="46116"/>
                    <a:pt x="75418" y="45020"/>
                    <a:pt x="76557" y="43531"/>
                  </a:cubicBezTo>
                  <a:cubicBezTo>
                    <a:pt x="82113" y="36278"/>
                    <a:pt x="75317" y="24341"/>
                    <a:pt x="70615" y="18239"/>
                  </a:cubicBezTo>
                  <a:cubicBezTo>
                    <a:pt x="65160" y="11179"/>
                    <a:pt x="57510" y="6292"/>
                    <a:pt x="49153" y="3260"/>
                  </a:cubicBezTo>
                  <a:cubicBezTo>
                    <a:pt x="33688" y="-2358"/>
                    <a:pt x="9518" y="-1947"/>
                    <a:pt x="518" y="14421"/>
                  </a:cubicBezTo>
                  <a:cubicBezTo>
                    <a:pt x="-1806" y="18641"/>
                    <a:pt x="4255" y="23911"/>
                    <a:pt x="7506" y="19801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90F8C9E1-5512-609F-51E5-2D176A58A9A7}"/>
                </a:ext>
              </a:extLst>
            </p:cNvPr>
            <p:cNvSpPr/>
            <p:nvPr/>
          </p:nvSpPr>
          <p:spPr>
            <a:xfrm>
              <a:off x="7739788" y="3215285"/>
              <a:ext cx="91938" cy="37394"/>
            </a:xfrm>
            <a:custGeom>
              <a:avLst/>
              <a:gdLst>
                <a:gd name="connsiteX0" fmla="*/ 91662 w 91938"/>
                <a:gd name="connsiteY0" fmla="*/ 32726 h 37394"/>
                <a:gd name="connsiteX1" fmla="*/ 50116 w 91938"/>
                <a:gd name="connsiteY1" fmla="*/ 11618 h 37394"/>
                <a:gd name="connsiteX2" fmla="*/ 32502 w 91938"/>
                <a:gd name="connsiteY2" fmla="*/ 15052 h 37394"/>
                <a:gd name="connsiteX3" fmla="*/ 30105 w 91938"/>
                <a:gd name="connsiteY3" fmla="*/ 13225 h 37394"/>
                <a:gd name="connsiteX4" fmla="*/ 24705 w 91938"/>
                <a:gd name="connsiteY4" fmla="*/ 3260 h 37394"/>
                <a:gd name="connsiteX5" fmla="*/ 15926 w 91938"/>
                <a:gd name="connsiteY5" fmla="*/ 5672 h 37394"/>
                <a:gd name="connsiteX6" fmla="*/ 20251 w 91938"/>
                <a:gd name="connsiteY6" fmla="*/ 15865 h 37394"/>
                <a:gd name="connsiteX7" fmla="*/ 6320 w 91938"/>
                <a:gd name="connsiteY7" fmla="*/ 5946 h 37394"/>
                <a:gd name="connsiteX8" fmla="*/ 213 w 91938"/>
                <a:gd name="connsiteY8" fmla="*/ 8503 h 37394"/>
                <a:gd name="connsiteX9" fmla="*/ 17368 w 91938"/>
                <a:gd name="connsiteY9" fmla="*/ 25218 h 37394"/>
                <a:gd name="connsiteX10" fmla="*/ 33705 w 91938"/>
                <a:gd name="connsiteY10" fmla="*/ 25802 h 37394"/>
                <a:gd name="connsiteX11" fmla="*/ 36607 w 91938"/>
                <a:gd name="connsiteY11" fmla="*/ 25327 h 37394"/>
                <a:gd name="connsiteX12" fmla="*/ 42503 w 91938"/>
                <a:gd name="connsiteY12" fmla="*/ 24295 h 37394"/>
                <a:gd name="connsiteX13" fmla="*/ 59088 w 91938"/>
                <a:gd name="connsiteY13" fmla="*/ 23154 h 37394"/>
                <a:gd name="connsiteX14" fmla="*/ 85968 w 91938"/>
                <a:gd name="connsiteY14" fmla="*/ 37074 h 37394"/>
                <a:gd name="connsiteX15" fmla="*/ 91662 w 91938"/>
                <a:gd name="connsiteY15" fmla="*/ 32726 h 3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1938" h="37394">
                  <a:moveTo>
                    <a:pt x="91662" y="32726"/>
                  </a:moveTo>
                  <a:cubicBezTo>
                    <a:pt x="85445" y="17463"/>
                    <a:pt x="65783" y="10001"/>
                    <a:pt x="50116" y="11618"/>
                  </a:cubicBezTo>
                  <a:cubicBezTo>
                    <a:pt x="44597" y="12184"/>
                    <a:pt x="38490" y="13928"/>
                    <a:pt x="32502" y="15052"/>
                  </a:cubicBezTo>
                  <a:cubicBezTo>
                    <a:pt x="31657" y="14513"/>
                    <a:pt x="30840" y="13938"/>
                    <a:pt x="30105" y="13225"/>
                  </a:cubicBezTo>
                  <a:cubicBezTo>
                    <a:pt x="27249" y="10467"/>
                    <a:pt x="25541" y="7096"/>
                    <a:pt x="24705" y="3260"/>
                  </a:cubicBezTo>
                  <a:cubicBezTo>
                    <a:pt x="23466" y="-2458"/>
                    <a:pt x="14806" y="-19"/>
                    <a:pt x="15926" y="5672"/>
                  </a:cubicBezTo>
                  <a:cubicBezTo>
                    <a:pt x="16652" y="9343"/>
                    <a:pt x="18148" y="12796"/>
                    <a:pt x="20251" y="15865"/>
                  </a:cubicBezTo>
                  <a:cubicBezTo>
                    <a:pt x="14686" y="15189"/>
                    <a:pt x="9792" y="12522"/>
                    <a:pt x="6320" y="5946"/>
                  </a:cubicBezTo>
                  <a:cubicBezTo>
                    <a:pt x="4594" y="2676"/>
                    <a:pt x="-1174" y="4950"/>
                    <a:pt x="213" y="8503"/>
                  </a:cubicBezTo>
                  <a:cubicBezTo>
                    <a:pt x="3262" y="16340"/>
                    <a:pt x="9296" y="22432"/>
                    <a:pt x="17368" y="25218"/>
                  </a:cubicBezTo>
                  <a:cubicBezTo>
                    <a:pt x="22556" y="27008"/>
                    <a:pt x="28177" y="26643"/>
                    <a:pt x="33705" y="25802"/>
                  </a:cubicBezTo>
                  <a:cubicBezTo>
                    <a:pt x="34679" y="25857"/>
                    <a:pt x="35652" y="25720"/>
                    <a:pt x="36607" y="25327"/>
                  </a:cubicBezTo>
                  <a:cubicBezTo>
                    <a:pt x="38609" y="24980"/>
                    <a:pt x="40584" y="24606"/>
                    <a:pt x="42503" y="24295"/>
                  </a:cubicBezTo>
                  <a:cubicBezTo>
                    <a:pt x="48059" y="23391"/>
                    <a:pt x="53431" y="22286"/>
                    <a:pt x="59088" y="23154"/>
                  </a:cubicBezTo>
                  <a:cubicBezTo>
                    <a:pt x="69833" y="24798"/>
                    <a:pt x="76427" y="33009"/>
                    <a:pt x="85968" y="37074"/>
                  </a:cubicBezTo>
                  <a:cubicBezTo>
                    <a:pt x="88622" y="38206"/>
                    <a:pt x="93095" y="36242"/>
                    <a:pt x="91662" y="3272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73CE3620-BDD6-D69A-8898-5BBD4C224577}"/>
                </a:ext>
              </a:extLst>
            </p:cNvPr>
            <p:cNvSpPr/>
            <p:nvPr/>
          </p:nvSpPr>
          <p:spPr>
            <a:xfrm>
              <a:off x="7908466" y="3217522"/>
              <a:ext cx="76286" cy="37535"/>
            </a:xfrm>
            <a:custGeom>
              <a:avLst/>
              <a:gdLst>
                <a:gd name="connsiteX0" fmla="*/ 70039 w 76286"/>
                <a:gd name="connsiteY0" fmla="*/ 5964 h 37535"/>
                <a:gd name="connsiteX1" fmla="*/ 59790 w 76286"/>
                <a:gd name="connsiteY1" fmla="*/ 16039 h 37535"/>
                <a:gd name="connsiteX2" fmla="*/ 63518 w 76286"/>
                <a:gd name="connsiteY2" fmla="*/ 5690 h 37535"/>
                <a:gd name="connsiteX3" fmla="*/ 54739 w 76286"/>
                <a:gd name="connsiteY3" fmla="*/ 3279 h 37535"/>
                <a:gd name="connsiteX4" fmla="*/ 50414 w 76286"/>
                <a:gd name="connsiteY4" fmla="*/ 13362 h 37535"/>
                <a:gd name="connsiteX5" fmla="*/ 49174 w 76286"/>
                <a:gd name="connsiteY5" fmla="*/ 14577 h 37535"/>
                <a:gd name="connsiteX6" fmla="*/ 46520 w 76286"/>
                <a:gd name="connsiteY6" fmla="*/ 13874 h 37535"/>
                <a:gd name="connsiteX7" fmla="*/ 34701 w 76286"/>
                <a:gd name="connsiteY7" fmla="*/ 11627 h 37535"/>
                <a:gd name="connsiteX8" fmla="*/ 125 w 76286"/>
                <a:gd name="connsiteY8" fmla="*/ 32744 h 37535"/>
                <a:gd name="connsiteX9" fmla="*/ 5819 w 76286"/>
                <a:gd name="connsiteY9" fmla="*/ 37092 h 37535"/>
                <a:gd name="connsiteX10" fmla="*/ 27528 w 76286"/>
                <a:gd name="connsiteY10" fmla="*/ 23200 h 37535"/>
                <a:gd name="connsiteX11" fmla="*/ 41193 w 76286"/>
                <a:gd name="connsiteY11" fmla="*/ 24405 h 37535"/>
                <a:gd name="connsiteX12" fmla="*/ 45216 w 76286"/>
                <a:gd name="connsiteY12" fmla="*/ 25209 h 37535"/>
                <a:gd name="connsiteX13" fmla="*/ 48402 w 76286"/>
                <a:gd name="connsiteY13" fmla="*/ 25821 h 37535"/>
                <a:gd name="connsiteX14" fmla="*/ 61305 w 76286"/>
                <a:gd name="connsiteY14" fmla="*/ 25510 h 37535"/>
                <a:gd name="connsiteX15" fmla="*/ 76155 w 76286"/>
                <a:gd name="connsiteY15" fmla="*/ 8522 h 37535"/>
                <a:gd name="connsiteX16" fmla="*/ 70039 w 76286"/>
                <a:gd name="connsiteY16" fmla="*/ 5964 h 3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86" h="37535">
                  <a:moveTo>
                    <a:pt x="70039" y="5964"/>
                  </a:moveTo>
                  <a:cubicBezTo>
                    <a:pt x="67963" y="10531"/>
                    <a:pt x="64850" y="14678"/>
                    <a:pt x="59790" y="16039"/>
                  </a:cubicBezTo>
                  <a:cubicBezTo>
                    <a:pt x="61663" y="12860"/>
                    <a:pt x="62921" y="9371"/>
                    <a:pt x="63518" y="5690"/>
                  </a:cubicBezTo>
                  <a:cubicBezTo>
                    <a:pt x="64428" y="18"/>
                    <a:pt x="55795" y="-2494"/>
                    <a:pt x="54739" y="3279"/>
                  </a:cubicBezTo>
                  <a:cubicBezTo>
                    <a:pt x="54069" y="6941"/>
                    <a:pt x="52810" y="10449"/>
                    <a:pt x="50414" y="13362"/>
                  </a:cubicBezTo>
                  <a:cubicBezTo>
                    <a:pt x="50055" y="13792"/>
                    <a:pt x="49633" y="14194"/>
                    <a:pt x="49174" y="14577"/>
                  </a:cubicBezTo>
                  <a:cubicBezTo>
                    <a:pt x="48301" y="14312"/>
                    <a:pt x="47420" y="14057"/>
                    <a:pt x="46520" y="13874"/>
                  </a:cubicBezTo>
                  <a:cubicBezTo>
                    <a:pt x="43443" y="13235"/>
                    <a:pt x="38594" y="12056"/>
                    <a:pt x="34701" y="11627"/>
                  </a:cubicBezTo>
                  <a:cubicBezTo>
                    <a:pt x="20962" y="10111"/>
                    <a:pt x="3587" y="18687"/>
                    <a:pt x="125" y="32744"/>
                  </a:cubicBezTo>
                  <a:cubicBezTo>
                    <a:pt x="-711" y="36151"/>
                    <a:pt x="2807" y="38572"/>
                    <a:pt x="5819" y="37092"/>
                  </a:cubicBezTo>
                  <a:cubicBezTo>
                    <a:pt x="13680" y="33238"/>
                    <a:pt x="18492" y="24972"/>
                    <a:pt x="27528" y="23200"/>
                  </a:cubicBezTo>
                  <a:cubicBezTo>
                    <a:pt x="32313" y="22259"/>
                    <a:pt x="36547" y="23547"/>
                    <a:pt x="41193" y="24405"/>
                  </a:cubicBezTo>
                  <a:cubicBezTo>
                    <a:pt x="42507" y="24652"/>
                    <a:pt x="43857" y="24926"/>
                    <a:pt x="45216" y="25209"/>
                  </a:cubicBezTo>
                  <a:cubicBezTo>
                    <a:pt x="46272" y="25748"/>
                    <a:pt x="47346" y="25921"/>
                    <a:pt x="48402" y="25821"/>
                  </a:cubicBezTo>
                  <a:cubicBezTo>
                    <a:pt x="52755" y="26579"/>
                    <a:pt x="57173" y="26944"/>
                    <a:pt x="61305" y="25510"/>
                  </a:cubicBezTo>
                  <a:cubicBezTo>
                    <a:pt x="68882" y="22871"/>
                    <a:pt x="73932" y="15892"/>
                    <a:pt x="76155" y="8522"/>
                  </a:cubicBezTo>
                  <a:cubicBezTo>
                    <a:pt x="77211" y="5005"/>
                    <a:pt x="71627" y="2475"/>
                    <a:pt x="70039" y="5964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78A22CC-CFAC-3758-B7EB-E7773DC7CAB8}"/>
                </a:ext>
              </a:extLst>
            </p:cNvPr>
            <p:cNvSpPr txBox="1"/>
            <p:nvPr/>
          </p:nvSpPr>
          <p:spPr>
            <a:xfrm>
              <a:off x="234547" y="1150379"/>
              <a:ext cx="4256528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ur top experts are ready to reach the goa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4984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549201F-4C62-73C1-5D02-47FC1133D852}"/>
              </a:ext>
            </a:extLst>
          </p:cNvPr>
          <p:cNvSpPr txBox="1"/>
          <p:nvPr/>
        </p:nvSpPr>
        <p:spPr>
          <a:xfrm>
            <a:off x="299484" y="407551"/>
            <a:ext cx="815929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Our Team</a:t>
            </a:r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B60CB1FD-86EF-DC1D-C131-0368402999EF}"/>
              </a:ext>
            </a:extLst>
          </p:cNvPr>
          <p:cNvGrpSpPr/>
          <p:nvPr/>
        </p:nvGrpSpPr>
        <p:grpSpPr>
          <a:xfrm>
            <a:off x="-2493088" y="-2794500"/>
            <a:ext cx="16878085" cy="9125051"/>
            <a:chOff x="-4588149" y="338873"/>
            <a:chExt cx="16532056" cy="8953611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AF469FA-AF7F-70C6-5D0C-057DB7FD6D02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 useBgFill="1">
          <p:nvSpPr>
            <p:cNvPr id="51" name="Oval 50">
              <a:extLst>
                <a:ext uri="{FF2B5EF4-FFF2-40B4-BE49-F238E27FC236}">
                  <a16:creationId xmlns:a16="http://schemas.microsoft.com/office/drawing/2014/main" id="{09683DC7-473B-6AA2-69C1-28122D7CF70F}"/>
                </a:ext>
              </a:extLst>
            </p:cNvPr>
            <p:cNvSpPr/>
            <p:nvPr/>
          </p:nvSpPr>
          <p:spPr>
            <a:xfrm>
              <a:off x="5842207" y="338873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922467" t="-367961" r="-379491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31D8CC29-B332-A082-0B8B-3852195CB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70000" y="466666"/>
              <a:ext cx="252000" cy="252000"/>
            </a:xfrm>
            <a:prstGeom prst="rect">
              <a:avLst/>
            </a:prstGeom>
          </p:spPr>
        </p:pic>
        <p:sp>
          <p:nvSpPr>
            <p:cNvPr id="56" name="Rounded Rectangle 24">
              <a:extLst>
                <a:ext uri="{FF2B5EF4-FFF2-40B4-BE49-F238E27FC236}">
                  <a16:creationId xmlns:a16="http://schemas.microsoft.com/office/drawing/2014/main" id="{C307511C-C5D3-F3C7-D94F-C9E1EE2025B3}"/>
                </a:ext>
              </a:extLst>
            </p:cNvPr>
            <p:cNvSpPr/>
            <p:nvPr/>
          </p:nvSpPr>
          <p:spPr>
            <a:xfrm>
              <a:off x="-4588149" y="8890612"/>
              <a:ext cx="1996685" cy="401872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 dirty="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E074EF48-D9AB-18C0-755A-019342DFCA01}"/>
                </a:ext>
              </a:extLst>
            </p:cNvPr>
            <p:cNvSpPr txBox="1"/>
            <p:nvPr/>
          </p:nvSpPr>
          <p:spPr>
            <a:xfrm>
              <a:off x="530660" y="713912"/>
              <a:ext cx="8171968" cy="585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TEAM MEMBERS</a:t>
              </a:r>
            </a:p>
          </p:txBody>
        </p:sp>
      </p:grpSp>
      <p:sp>
        <p:nvSpPr>
          <p:cNvPr id="58" name="Rounded Rectangle 20">
            <a:extLst>
              <a:ext uri="{FF2B5EF4-FFF2-40B4-BE49-F238E27FC236}">
                <a16:creationId xmlns:a16="http://schemas.microsoft.com/office/drawing/2014/main" id="{DB315C00-7DE9-4232-8BE4-90AB9A5BD2C4}"/>
              </a:ext>
            </a:extLst>
          </p:cNvPr>
          <p:cNvSpPr/>
          <p:nvPr/>
        </p:nvSpPr>
        <p:spPr>
          <a:xfrm>
            <a:off x="2601013" y="4863960"/>
            <a:ext cx="2114478" cy="409567"/>
          </a:xfrm>
          <a:prstGeom prst="roundRect">
            <a:avLst/>
          </a:prstGeom>
          <a:solidFill>
            <a:schemeClr val="bg2">
              <a:lumMod val="10000"/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B33781F-DA38-4C28-B69B-74DBBFD4ACEE}"/>
              </a:ext>
            </a:extLst>
          </p:cNvPr>
          <p:cNvSpPr txBox="1"/>
          <p:nvPr/>
        </p:nvSpPr>
        <p:spPr>
          <a:xfrm>
            <a:off x="2489579" y="5487304"/>
            <a:ext cx="184731" cy="2757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70000"/>
              </a:lnSpc>
            </a:pPr>
            <a:endParaRPr lang="en-GB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3C2B990-F11D-4D5C-A4E1-50ED779CD3E4}"/>
              </a:ext>
            </a:extLst>
          </p:cNvPr>
          <p:cNvSpPr txBox="1"/>
          <p:nvPr/>
        </p:nvSpPr>
        <p:spPr>
          <a:xfrm>
            <a:off x="2557842" y="4886146"/>
            <a:ext cx="2185318" cy="344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Mahmoud</a:t>
            </a:r>
            <a:r>
              <a:rPr kumimoji="0" lang="en-US" sz="2000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 Ibrahim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EC9C49E-2B0E-4D10-9469-DF2E050580DC}"/>
              </a:ext>
            </a:extLst>
          </p:cNvPr>
          <p:cNvGrpSpPr/>
          <p:nvPr/>
        </p:nvGrpSpPr>
        <p:grpSpPr>
          <a:xfrm>
            <a:off x="68394" y="503212"/>
            <a:ext cx="16276051" cy="6074280"/>
            <a:chOff x="-5190144" y="338873"/>
            <a:chExt cx="16276051" cy="5804303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EDBDCBF-B1FF-477A-9159-E3D6B7CAF97E}"/>
                </a:ext>
              </a:extLst>
            </p:cNvPr>
            <p:cNvCxnSpPr/>
            <p:nvPr/>
          </p:nvCxnSpPr>
          <p:spPr>
            <a:xfrm>
              <a:off x="-558516" y="6143176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 useBgFill="1">
          <p:nvSpPr>
            <p:cNvPr id="37" name="Oval 36">
              <a:extLst>
                <a:ext uri="{FF2B5EF4-FFF2-40B4-BE49-F238E27FC236}">
                  <a16:creationId xmlns:a16="http://schemas.microsoft.com/office/drawing/2014/main" id="{CC4788B1-B86E-489E-A8AB-384E2A257670}"/>
                </a:ext>
              </a:extLst>
            </p:cNvPr>
            <p:cNvSpPr/>
            <p:nvPr/>
          </p:nvSpPr>
          <p:spPr>
            <a:xfrm>
              <a:off x="5842207" y="338873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922467" t="-367961" r="-379491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A3FCE9E8-B9D7-45C8-8E35-AF7AD23F7E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70000" y="466666"/>
              <a:ext cx="252000" cy="252000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A6217DC-3B2F-40AC-AE38-09B717816A84}"/>
                </a:ext>
              </a:extLst>
            </p:cNvPr>
            <p:cNvSpPr txBox="1"/>
            <p:nvPr/>
          </p:nvSpPr>
          <p:spPr>
            <a:xfrm>
              <a:off x="2511520" y="5733945"/>
              <a:ext cx="184731" cy="2757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C08F31C-A469-4B80-9540-57012F5A0513}"/>
                </a:ext>
              </a:extLst>
            </p:cNvPr>
            <p:cNvSpPr txBox="1"/>
            <p:nvPr/>
          </p:nvSpPr>
          <p:spPr>
            <a:xfrm>
              <a:off x="-5190144" y="643895"/>
              <a:ext cx="3612542" cy="442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3600" b="1" u="sng" dirty="0"/>
                <a:t>TEAM MEMBERS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76A3F2A8-121D-4B13-ADE7-B436CAC8D1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262" y="1697219"/>
            <a:ext cx="2197732" cy="285335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165D07A2-A73E-411E-8D79-78F084BE14CD}"/>
              </a:ext>
            </a:extLst>
          </p:cNvPr>
          <p:cNvSpPr txBox="1"/>
          <p:nvPr/>
        </p:nvSpPr>
        <p:spPr>
          <a:xfrm>
            <a:off x="202734" y="4863027"/>
            <a:ext cx="2218832" cy="395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ct val="80000"/>
              </a:lnSpc>
              <a:defRPr/>
            </a:pPr>
            <a:r>
              <a:rPr lang="en-US" sz="2400" b="1" kern="0" dirty="0">
                <a:solidFill>
                  <a:prstClr val="white"/>
                </a:solidFill>
                <a:latin typeface="Darker Grotesque" pitchFamily="2" charset="0"/>
              </a:rPr>
              <a:t>David </a:t>
            </a:r>
            <a:r>
              <a:rPr lang="en-US" sz="2000" b="1" kern="0" dirty="0" err="1">
                <a:solidFill>
                  <a:prstClr val="white"/>
                </a:solidFill>
                <a:latin typeface="Darker Grotesque" pitchFamily="2" charset="0"/>
              </a:rPr>
              <a:t>Raoof</a:t>
            </a:r>
            <a:endParaRPr lang="en-US" sz="2400" b="1" kern="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3DEE24C-5C6E-4E81-A5C2-7589BD856468}"/>
              </a:ext>
            </a:extLst>
          </p:cNvPr>
          <p:cNvSpPr txBox="1"/>
          <p:nvPr/>
        </p:nvSpPr>
        <p:spPr>
          <a:xfrm>
            <a:off x="-70261" y="5907414"/>
            <a:ext cx="2585356" cy="344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prstClr val="white"/>
                </a:solidFill>
                <a:latin typeface="Darker Grotesque" pitchFamily="2" charset="0"/>
              </a:rPr>
              <a:t>Team Leader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E7766F4-BE8A-4694-9D23-CC82021F001E}"/>
              </a:ext>
            </a:extLst>
          </p:cNvPr>
          <p:cNvSpPr txBox="1"/>
          <p:nvPr/>
        </p:nvSpPr>
        <p:spPr>
          <a:xfrm>
            <a:off x="5157382" y="4834902"/>
            <a:ext cx="310654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kern="0" dirty="0">
                <a:solidFill>
                  <a:prstClr val="white"/>
                </a:solidFill>
                <a:latin typeface="Darker Grotesque" pitchFamily="2" charset="0"/>
              </a:rPr>
              <a:t>Mohamed Osam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3CEBD5-4F15-4880-B3CF-ED98EED10D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62" y="1746111"/>
            <a:ext cx="2111897" cy="281586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AFFF367-D0A8-49DC-B482-3719E0444322}"/>
              </a:ext>
            </a:extLst>
          </p:cNvPr>
          <p:cNvSpPr txBox="1"/>
          <p:nvPr/>
        </p:nvSpPr>
        <p:spPr>
          <a:xfrm>
            <a:off x="10180436" y="4843446"/>
            <a:ext cx="227875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kern="0" dirty="0">
                <a:solidFill>
                  <a:prstClr val="white"/>
                </a:solidFill>
                <a:latin typeface="Darker Grotesque" pitchFamily="2" charset="0"/>
              </a:rPr>
              <a:t>Hamza </a:t>
            </a:r>
            <a:r>
              <a:rPr lang="en-US" sz="2000" b="1" kern="0" dirty="0" err="1">
                <a:solidFill>
                  <a:prstClr val="white"/>
                </a:solidFill>
                <a:latin typeface="Darker Grotesque" pitchFamily="2" charset="0"/>
              </a:rPr>
              <a:t>Mosaad</a:t>
            </a:r>
            <a:endParaRPr lang="en-US" sz="2000" b="1" kern="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>
        <p:nvSpPr>
          <p:cNvPr id="31" name="Rounded Rectangle 20">
            <a:extLst>
              <a:ext uri="{FF2B5EF4-FFF2-40B4-BE49-F238E27FC236}">
                <a16:creationId xmlns:a16="http://schemas.microsoft.com/office/drawing/2014/main" id="{EEE6C4E3-2F5A-4667-86C1-0583EB296326}"/>
              </a:ext>
            </a:extLst>
          </p:cNvPr>
          <p:cNvSpPr/>
          <p:nvPr/>
        </p:nvSpPr>
        <p:spPr>
          <a:xfrm>
            <a:off x="354378" y="4805592"/>
            <a:ext cx="1887741" cy="463525"/>
          </a:xfrm>
          <a:prstGeom prst="roundRect">
            <a:avLst>
              <a:gd name="adj" fmla="val 18528"/>
            </a:avLst>
          </a:prstGeom>
          <a:solidFill>
            <a:schemeClr val="tx1">
              <a:lumMod val="95000"/>
              <a:lumOff val="5000"/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32" name="Rounded Rectangle 20">
            <a:extLst>
              <a:ext uri="{FF2B5EF4-FFF2-40B4-BE49-F238E27FC236}">
                <a16:creationId xmlns:a16="http://schemas.microsoft.com/office/drawing/2014/main" id="{306CC5FC-B8C6-4343-990F-5E6E01303C67}"/>
              </a:ext>
            </a:extLst>
          </p:cNvPr>
          <p:cNvSpPr/>
          <p:nvPr/>
        </p:nvSpPr>
        <p:spPr>
          <a:xfrm>
            <a:off x="10033385" y="4843192"/>
            <a:ext cx="1909902" cy="409567"/>
          </a:xfrm>
          <a:prstGeom prst="round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39" name="Rounded Rectangle 20">
            <a:extLst>
              <a:ext uri="{FF2B5EF4-FFF2-40B4-BE49-F238E27FC236}">
                <a16:creationId xmlns:a16="http://schemas.microsoft.com/office/drawing/2014/main" id="{5156C344-34DA-49BB-9CC8-CF42F7411CEF}"/>
              </a:ext>
            </a:extLst>
          </p:cNvPr>
          <p:cNvSpPr/>
          <p:nvPr/>
        </p:nvSpPr>
        <p:spPr>
          <a:xfrm>
            <a:off x="7625347" y="4859859"/>
            <a:ext cx="2025556" cy="409567"/>
          </a:xfrm>
          <a:prstGeom prst="round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41" name="Rounded Rectangle 20">
            <a:extLst>
              <a:ext uri="{FF2B5EF4-FFF2-40B4-BE49-F238E27FC236}">
                <a16:creationId xmlns:a16="http://schemas.microsoft.com/office/drawing/2014/main" id="{ECA6828B-A5F2-4F10-BD42-89B3FDC31FD6}"/>
              </a:ext>
            </a:extLst>
          </p:cNvPr>
          <p:cNvSpPr/>
          <p:nvPr/>
        </p:nvSpPr>
        <p:spPr>
          <a:xfrm>
            <a:off x="5141049" y="4855314"/>
            <a:ext cx="2025556" cy="409567"/>
          </a:xfrm>
          <a:prstGeom prst="round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1740E45B-C5FD-4DB9-8560-F187205BD217}"/>
              </a:ext>
            </a:extLst>
          </p:cNvPr>
          <p:cNvSpPr/>
          <p:nvPr/>
        </p:nvSpPr>
        <p:spPr>
          <a:xfrm>
            <a:off x="1115413" y="5413510"/>
            <a:ext cx="214008" cy="349511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25000"/>
                  <a:lumOff val="75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43" name="Rounded Rectangle 20">
            <a:extLst>
              <a:ext uri="{FF2B5EF4-FFF2-40B4-BE49-F238E27FC236}">
                <a16:creationId xmlns:a16="http://schemas.microsoft.com/office/drawing/2014/main" id="{1E892997-BF06-47B5-B79E-7ED1EB97E5C3}"/>
              </a:ext>
            </a:extLst>
          </p:cNvPr>
          <p:cNvSpPr/>
          <p:nvPr/>
        </p:nvSpPr>
        <p:spPr>
          <a:xfrm>
            <a:off x="454108" y="5832093"/>
            <a:ext cx="1502819" cy="409567"/>
          </a:xfrm>
          <a:prstGeom prst="round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6350" cap="rnd">
            <a:solidFill>
              <a:schemeClr val="bg1">
                <a:alpha val="5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LT" sz="1000" spc="30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BEFF21F-C2E4-4A57-8467-E526206BBF2B}"/>
              </a:ext>
            </a:extLst>
          </p:cNvPr>
          <p:cNvSpPr txBox="1"/>
          <p:nvPr/>
        </p:nvSpPr>
        <p:spPr>
          <a:xfrm>
            <a:off x="7429822" y="4886146"/>
            <a:ext cx="2408038" cy="3194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noProof="0" dirty="0" err="1">
                <a:solidFill>
                  <a:prstClr val="white"/>
                </a:solidFill>
                <a:latin typeface="Darker Grotesque" pitchFamily="2" charset="0"/>
              </a:rPr>
              <a:t>Silvznz</a:t>
            </a:r>
            <a:r>
              <a:rPr lang="en-US" b="1" kern="0" noProof="0" dirty="0">
                <a:solidFill>
                  <a:prstClr val="white"/>
                </a:solidFill>
                <a:latin typeface="Darker Grotesque" pitchFamily="2" charset="0"/>
              </a:rPr>
              <a:t> </a:t>
            </a:r>
            <a:r>
              <a:rPr lang="en-US" b="1" kern="0" noProof="0" dirty="0" err="1">
                <a:solidFill>
                  <a:prstClr val="white"/>
                </a:solidFill>
                <a:latin typeface="Darker Grotesque" pitchFamily="2" charset="0"/>
              </a:rPr>
              <a:t>Sameh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CD79B3F7-0B1F-4E91-B724-9843D3595F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4146" y="1128881"/>
            <a:ext cx="3848379" cy="38483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8D6CFCC-A472-4A77-9F0E-2B045C92A7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5883" y="1731172"/>
            <a:ext cx="2025556" cy="280599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875C06E-36E0-4E12-9DD5-D1443E7586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208" y="1697219"/>
            <a:ext cx="2133447" cy="284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205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47" grpId="0"/>
      <p:bldP spid="54" grpId="0"/>
      <p:bldP spid="55" grpId="0"/>
      <p:bldP spid="27" grpId="0"/>
      <p:bldP spid="4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D67472-CF1E-4EF1-B51E-DD51C32A1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581B7E-9E1B-4DAD-A2B0-6F68D23B957D}"/>
              </a:ext>
            </a:extLst>
          </p:cNvPr>
          <p:cNvSpPr txBox="1"/>
          <p:nvPr/>
        </p:nvSpPr>
        <p:spPr>
          <a:xfrm>
            <a:off x="5581892" y="136525"/>
            <a:ext cx="60940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u="sng" dirty="0">
                <a:solidFill>
                  <a:schemeClr val="bg1"/>
                </a:solidFill>
              </a:rPr>
              <a:t>تجربة العمل الجماعي</a:t>
            </a:r>
            <a:endParaRPr lang="en-US" sz="3600" b="1" u="sng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EE0211-A9F6-4E51-BC59-1CA514F38E76}"/>
              </a:ext>
            </a:extLst>
          </p:cNvPr>
          <p:cNvSpPr txBox="1"/>
          <p:nvPr/>
        </p:nvSpPr>
        <p:spPr>
          <a:xfrm>
            <a:off x="75236" y="1093371"/>
            <a:ext cx="11600726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2800" b="1" dirty="0">
                <a:solidFill>
                  <a:schemeClr val="bg1"/>
                </a:solidFill>
              </a:rPr>
              <a:t>تجربة العمل الجماعي في المشروع كانت مفيدة جدًا، وخلّت كل واحد في الفريق يشتغل بتركيز على الجزء اللي بيتقنه.</a:t>
            </a:r>
          </a:p>
          <a:p>
            <a:pPr algn="r" rtl="1"/>
            <a:r>
              <a:rPr lang="ar-SA" sz="2800" b="1" dirty="0">
                <a:solidFill>
                  <a:schemeClr val="bg1"/>
                </a:solidFill>
              </a:rPr>
              <a:t>قسّمنا المهام بيننا بشكل منظم، وكل واحد اشتغل على مكون معين زي التصميم، كتابة الكود، أو تنظيم البيانات.</a:t>
            </a:r>
          </a:p>
          <a:p>
            <a:pPr algn="r" rtl="1"/>
            <a:r>
              <a:rPr lang="ar-SA" sz="2800" b="1" dirty="0">
                <a:solidFill>
                  <a:schemeClr val="bg1"/>
                </a:solidFill>
              </a:rPr>
              <a:t>واجهنا تحديات في البداية في التنسيق، لكن مع الوقت اتعلمنا إزاي نوزّع الشغل بمرونة ونساعد بعض وقت اللزوم.</a:t>
            </a:r>
          </a:p>
          <a:p>
            <a:pPr algn="r" rtl="1"/>
            <a:r>
              <a:rPr lang="ar-SA" sz="2800" b="1" dirty="0">
                <a:solidFill>
                  <a:schemeClr val="bg1"/>
                </a:solidFill>
              </a:rPr>
              <a:t>اتعلمنا أهمية التواصل المستمر، واستخدمنا أدوات زي </a:t>
            </a:r>
            <a:r>
              <a:rPr lang="en-US" sz="2800" b="1" dirty="0">
                <a:solidFill>
                  <a:schemeClr val="bg1"/>
                </a:solidFill>
              </a:rPr>
              <a:t>Google Docs </a:t>
            </a:r>
            <a:r>
              <a:rPr lang="ar-SA" sz="2800" b="1" dirty="0">
                <a:solidFill>
                  <a:schemeClr val="bg1"/>
                </a:solidFill>
              </a:rPr>
              <a:t>و</a:t>
            </a:r>
            <a:r>
              <a:rPr lang="en-US" sz="2800" b="1" dirty="0">
                <a:solidFill>
                  <a:schemeClr val="bg1"/>
                </a:solidFill>
              </a:rPr>
              <a:t>GitHub </a:t>
            </a:r>
            <a:r>
              <a:rPr lang="ar-SA" sz="2800" b="1" dirty="0">
                <a:solidFill>
                  <a:schemeClr val="bg1"/>
                </a:solidFill>
              </a:rPr>
              <a:t>علشان نتابع التقدّم ونراجع التعديلات.</a:t>
            </a:r>
          </a:p>
          <a:p>
            <a:pPr algn="r" rtl="1"/>
            <a:r>
              <a:rPr lang="ar-SA" sz="2800" b="1" dirty="0">
                <a:solidFill>
                  <a:schemeClr val="bg1"/>
                </a:solidFill>
              </a:rPr>
              <a:t>العمل الجماعي حسّسنا إن الشغل أسرع وأسهل لما كل حد يعرف دوره ويدعم الفريق.</a:t>
            </a:r>
          </a:p>
          <a:p>
            <a:pPr algn="r" rtl="1"/>
            <a:r>
              <a:rPr lang="ar-SA" sz="2800" b="1" dirty="0">
                <a:solidFill>
                  <a:schemeClr val="bg1"/>
                </a:solidFill>
              </a:rPr>
              <a:t>وفي النهاية، قدرنا نخلص المشروع في وقته وبجودة كويسة بفضل التعاون بيننا.</a:t>
            </a:r>
          </a:p>
          <a:p>
            <a:pPr algn="r" rtl="1"/>
            <a:r>
              <a:rPr lang="ar-SA" sz="2800" b="1" dirty="0">
                <a:solidFill>
                  <a:schemeClr val="bg1"/>
                </a:solidFill>
              </a:rPr>
              <a:t>كمان لاحظنا إن كل حد اتطوّر في الجزء اللي اشتغل عليه، واتعلم حاجات من زميله مكنش يعرفها.</a:t>
            </a:r>
          </a:p>
          <a:p>
            <a:pPr algn="r" rtl="1"/>
            <a:r>
              <a:rPr lang="ar-SA" sz="2800" b="1" dirty="0">
                <a:solidFill>
                  <a:schemeClr val="bg1"/>
                </a:solidFill>
              </a:rPr>
              <a:t>والتجربة دي خلتنا نشتغل كفريق حقيقي، مش بس مجموعة أفراد بيشتغلوا على نفس المشروع.</a:t>
            </a:r>
          </a:p>
        </p:txBody>
      </p:sp>
    </p:spTree>
    <p:extLst>
      <p:ext uri="{BB962C8B-B14F-4D97-AF65-F5344CB8AC3E}">
        <p14:creationId xmlns:p14="http://schemas.microsoft.com/office/powerpoint/2010/main" val="940494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E81CE7D-1B72-430D-9D73-B90F86EAC14D}"/>
              </a:ext>
            </a:extLst>
          </p:cNvPr>
          <p:cNvSpPr txBox="1"/>
          <p:nvPr/>
        </p:nvSpPr>
        <p:spPr>
          <a:xfrm>
            <a:off x="8001000" y="171450"/>
            <a:ext cx="37896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2400" b="1" u="sng" dirty="0">
                <a:solidFill>
                  <a:schemeClr val="bg1"/>
                </a:solidFill>
              </a:rPr>
              <a:t>التطويرات المستقبلية للمشروع</a:t>
            </a:r>
            <a:endParaRPr lang="en-US" sz="2400" b="1" u="sng" dirty="0">
              <a:solidFill>
                <a:schemeClr val="bg1"/>
              </a:solidFill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EC1F37B8-1E01-4FCD-A3FD-19E934B566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2720" y="922159"/>
            <a:ext cx="10099240" cy="5632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ربط الموقع بقاعدة بيانات حقيقية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Backend)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علشان نخزّن الطلبات والمستخدمين بشكل دائم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فعيل تسجيل دخول حقيقي باستخدام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Firebase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أو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JWT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بدل المحاكاة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إضافة صفحة خاصة بحساب المستخدم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My Profile)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متابعة الطلبات وتعديل البيانات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دعم وسائل دفع إلكترونية زي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ayPal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أو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tripe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تجربة شراء واقعية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إضافة لوحة تحكم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dmin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إدارة المنتجات والمخزون بسهولة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حسين نظام البحث والفلترة ليشمل التصنيفات، النطاق السعري، والماركات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ستخدام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eact Query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أو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WR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تحسين أداء جلب البيانات والتخزين المؤقت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طبيق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ark Mode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توفير تجربة استخدام مرنة وحديثة للمستخدمين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حسين تجربة المستخدم بإضافة مؤثرات مرئية مثل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oasts، Loaders،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و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imations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إنشاء صفحة لتتبع الطلب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Order Tracking)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بعد الشراء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دعم لغات متعددة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Localization)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علشان الموقع يخدم جمهور أكبر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حسين الأمان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Security)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خاصة في عمليات تسجيل الدخول والدفع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حويل الموقع لتطبيق موبايل باستخدام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eact Native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أو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WA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عمل اختبارات تلقائية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Testing) </a:t>
            </a: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ضمان جودة الكود قبل النشر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نشر النسخة النهائية على دومين حقيقي واستخدامها كمشروع عملي في البورتفوليو الشخصي</a:t>
            </a: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482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49B19E9-096B-4E1A-B012-4D3270E7E455}"/>
              </a:ext>
            </a:extLst>
          </p:cNvPr>
          <p:cNvSpPr txBox="1"/>
          <p:nvPr/>
        </p:nvSpPr>
        <p:spPr>
          <a:xfrm>
            <a:off x="5897394" y="136525"/>
            <a:ext cx="60943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u="sng" dirty="0">
                <a:solidFill>
                  <a:schemeClr val="bg1"/>
                </a:solidFill>
              </a:rPr>
              <a:t>التحديات والحلول أثناء تنفيذ المشروع</a:t>
            </a:r>
            <a:endParaRPr lang="en-US" sz="3600" u="sng" dirty="0">
              <a:solidFill>
                <a:schemeClr val="bg1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633319CC-EC4B-4097-8927-F68822583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1321" y="941528"/>
            <a:ext cx="8783175" cy="550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نسيق المهام بين أعضاء الفريق كان صعب في البداية</a:t>
            </a:r>
            <a:b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➤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حل: قسمنا الشغل بوضوح وتواصلنا باستمرار باستخدام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GitHub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وواتساب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حديد هيكل المشروع وتنظيم الصفحات</a:t>
            </a:r>
            <a:b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➤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حل: رسمنا تخطيط مبدئي وقسمنا المشروع لمكونات باستخدام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React.</a:t>
            </a: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عدم توفر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PI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جاهز من البداية</a:t>
            </a:r>
            <a:b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➤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حل: استخدمنا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Fake Store API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وملفات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JSON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مؤقتًا لعرض البيانات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صعوبة تنفيذ تصميم متجاوب على كل الشاشات</a:t>
            </a:r>
            <a:b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➤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حل: اعتمدنا على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Tailwind CSS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تنفيذ تصميم متجاوب بسهولة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إدارة حالة العربة وتحديث السعر عند التعديل</a:t>
            </a:r>
            <a:b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➤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حل: استخدمنا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22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useState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و</a:t>
            </a:r>
            <a:r>
              <a:rPr kumimoji="0" lang="en-US" altLang="en-US" sz="22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localStorage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تحديث البيانات لحظيًا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فقدان البيانات عند تحديث الصفحة</a:t>
            </a:r>
            <a:b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➤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حل: حفظنا بيانات العربة في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22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localStorage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علشان تفضل محفوظة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نفيذ التفاعل بين الصفحات وتوحيد حالة المستخدم</a:t>
            </a:r>
            <a:b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➤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حل: استخدمنا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React Router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مع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props/state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علشان كل حاجة تشتغل بانسيابية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42900" marR="0" lvl="0" indent="-3429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نظيم الوقت بين البرمجة وتجهيز البرزنتيشن</a:t>
            </a:r>
            <a:b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➤ </a:t>
            </a:r>
            <a:r>
              <a:rPr kumimoji="0" lang="ar-SA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حل: وزعنا المهام بالتوازي وبدأنا تجهيز المحتوى بدري</a:t>
            </a:r>
            <a:r>
              <a:rPr kumimoji="0" lang="en-US" altLang="en-US" sz="2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817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AA46D-1D8C-4519-8846-D69BAEB2AE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</p:spTree>
    <p:extLst>
      <p:ext uri="{BB962C8B-B14F-4D97-AF65-F5344CB8AC3E}">
        <p14:creationId xmlns:p14="http://schemas.microsoft.com/office/powerpoint/2010/main" val="2165669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4CBEE47-4141-2200-9A33-ADE75DA0B25B}"/>
              </a:ext>
            </a:extLst>
          </p:cNvPr>
          <p:cNvSpPr txBox="1"/>
          <p:nvPr/>
        </p:nvSpPr>
        <p:spPr>
          <a:xfrm>
            <a:off x="2889993" y="754226"/>
            <a:ext cx="6412013" cy="2455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roje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470096-ACD7-1592-119D-C102855C1D6D}"/>
              </a:ext>
            </a:extLst>
          </p:cNvPr>
          <p:cNvSpPr txBox="1"/>
          <p:nvPr/>
        </p:nvSpPr>
        <p:spPr>
          <a:xfrm>
            <a:off x="1940213" y="3463563"/>
            <a:ext cx="8311571" cy="2455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Definition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7DC4B3A-0AD4-E06B-F336-E86A673A779E}"/>
              </a:ext>
            </a:extLst>
          </p:cNvPr>
          <p:cNvGrpSpPr/>
          <p:nvPr/>
        </p:nvGrpSpPr>
        <p:grpSpPr>
          <a:xfrm>
            <a:off x="1707481" y="9066843"/>
            <a:ext cx="8777039" cy="2744346"/>
            <a:chOff x="1707481" y="2462663"/>
            <a:chExt cx="8777039" cy="2744346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1AA8404-D5C9-11C6-1D04-B117FB793719}"/>
                </a:ext>
              </a:extLst>
            </p:cNvPr>
            <p:cNvSpPr txBox="1"/>
            <p:nvPr/>
          </p:nvSpPr>
          <p:spPr>
            <a:xfrm>
              <a:off x="1707481" y="2462663"/>
              <a:ext cx="8777039" cy="1873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Your super-duper awesome mission goes right</a:t>
              </a:r>
              <a:r>
                <a:rPr kumimoji="0" lang="en-GB" sz="5400" b="0" i="0" u="none" strike="noStrike" kern="1200" cap="none" spc="-15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 here. 10x your PPT skills with One Skill.</a:t>
              </a:r>
              <a:endParaRPr kumimoji="0" lang="en-GB" sz="54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DC77D4C-A236-5446-0E6C-20FAE213677B}"/>
                </a:ext>
              </a:extLst>
            </p:cNvPr>
            <p:cNvSpPr txBox="1"/>
            <p:nvPr/>
          </p:nvSpPr>
          <p:spPr>
            <a:xfrm>
              <a:off x="2523659" y="4683789"/>
              <a:ext cx="136447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rPr>
                <a:t>One Skill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Darker Grotesque" pitchFamily="2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PPT Connoisseur 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18E4A9-697A-F984-D410-E0EBA0D710B6}"/>
              </a:ext>
            </a:extLst>
          </p:cNvPr>
          <p:cNvGrpSpPr/>
          <p:nvPr/>
        </p:nvGrpSpPr>
        <p:grpSpPr>
          <a:xfrm>
            <a:off x="299484" y="7434459"/>
            <a:ext cx="11644423" cy="507586"/>
            <a:chOff x="299484" y="369986"/>
            <a:chExt cx="11644423" cy="507586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3D533FC-301F-4241-F885-36A143CB5AD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" name="!!mission">
              <a:extLst>
                <a:ext uri="{FF2B5EF4-FFF2-40B4-BE49-F238E27FC236}">
                  <a16:creationId xmlns:a16="http://schemas.microsoft.com/office/drawing/2014/main" id="{78936679-7C61-4065-06C1-7E6D95B9FA11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29" name="Oval 28">
                <a:extLst>
                  <a:ext uri="{FF2B5EF4-FFF2-40B4-BE49-F238E27FC236}">
                    <a16:creationId xmlns:a16="http://schemas.microsoft.com/office/drawing/2014/main" id="{971099E7-F054-4A7B-A4C7-FB199C82A717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30" name="Graphic 29">
                <a:extLst>
                  <a:ext uri="{FF2B5EF4-FFF2-40B4-BE49-F238E27FC236}">
                    <a16:creationId xmlns:a16="http://schemas.microsoft.com/office/drawing/2014/main" id="{6EE4E794-E472-C5DB-EC17-CB376EC148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97874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0">
        <p:fade/>
      </p:transition>
    </mc:Choice>
    <mc:Fallback xmlns="">
      <p:transition spd="med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CD71B04-A06D-A176-6B96-5250AD809BBC}"/>
              </a:ext>
            </a:extLst>
          </p:cNvPr>
          <p:cNvSpPr txBox="1"/>
          <p:nvPr/>
        </p:nvSpPr>
        <p:spPr>
          <a:xfrm>
            <a:off x="299484" y="407551"/>
            <a:ext cx="593111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roje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2753BC-A19C-EA62-95CA-98BE0DAD536F}"/>
              </a:ext>
            </a:extLst>
          </p:cNvPr>
          <p:cNvSpPr txBox="1"/>
          <p:nvPr/>
        </p:nvSpPr>
        <p:spPr>
          <a:xfrm>
            <a:off x="939642" y="409984"/>
            <a:ext cx="767839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Defini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176D25-46DC-8511-5261-2FB41F2FA223}"/>
              </a:ext>
            </a:extLst>
          </p:cNvPr>
          <p:cNvSpPr txBox="1"/>
          <p:nvPr/>
        </p:nvSpPr>
        <p:spPr>
          <a:xfrm>
            <a:off x="1054783" y="1613502"/>
            <a:ext cx="10770336" cy="438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SA" sz="3100" b="1" dirty="0">
                <a:solidFill>
                  <a:schemeClr val="bg1"/>
                </a:solidFill>
              </a:rPr>
              <a:t>مشروعنا هو عبارة عن متجر إلكتروني (</a:t>
            </a:r>
            <a:r>
              <a:rPr lang="en-US" sz="3100" b="1" dirty="0">
                <a:solidFill>
                  <a:schemeClr val="bg1"/>
                </a:solidFill>
              </a:rPr>
              <a:t>E-Commerce Website) </a:t>
            </a:r>
            <a:r>
              <a:rPr lang="ar-SA" sz="3100" b="1" dirty="0">
                <a:solidFill>
                  <a:schemeClr val="bg1"/>
                </a:solidFill>
              </a:rPr>
              <a:t>تم تطويره باستخدام إطار العمل </a:t>
            </a:r>
            <a:r>
              <a:rPr lang="en-US" sz="3100" b="1" dirty="0">
                <a:solidFill>
                  <a:schemeClr val="bg1"/>
                </a:solidFill>
              </a:rPr>
              <a:t>React.js، </a:t>
            </a:r>
            <a:r>
              <a:rPr lang="ar-SA" sz="3100" b="1" dirty="0">
                <a:solidFill>
                  <a:schemeClr val="bg1"/>
                </a:solidFill>
              </a:rPr>
              <a:t>ويهدف إلى تقديم تجربة تسوّق مريحة وسريعة للمستخدم، مع واجهة استخدام جذابة وتصميم متجاوب يعمل بكفاءة على جميع الأجهزة سواء كانت كمبيوتر أو موبايل.</a:t>
            </a:r>
          </a:p>
          <a:p>
            <a:pPr algn="r" rtl="1"/>
            <a:r>
              <a:rPr lang="ar-SA" sz="3100" b="1" dirty="0">
                <a:solidFill>
                  <a:schemeClr val="bg1"/>
                </a:solidFill>
              </a:rPr>
              <a:t>تم تنفيذ هذا المشروع ضمن إطار تدريبي (</a:t>
            </a:r>
            <a:r>
              <a:rPr lang="en-US" sz="3100" b="1" dirty="0">
                <a:solidFill>
                  <a:schemeClr val="bg1"/>
                </a:solidFill>
              </a:rPr>
              <a:t>Workshop Framework) </a:t>
            </a:r>
            <a:r>
              <a:rPr lang="ar-SA" sz="3100" b="1" dirty="0">
                <a:solidFill>
                  <a:schemeClr val="bg1"/>
                </a:solidFill>
              </a:rPr>
              <a:t>بيركّز على تنمية المهارات العملية في بناء تطبيقات </a:t>
            </a:r>
            <a:r>
              <a:rPr lang="en-US" sz="3100" b="1" dirty="0">
                <a:solidFill>
                  <a:schemeClr val="bg1"/>
                </a:solidFill>
              </a:rPr>
              <a:t>React </a:t>
            </a:r>
            <a:r>
              <a:rPr lang="ar-SA" sz="3100" b="1" dirty="0">
                <a:solidFill>
                  <a:schemeClr val="bg1"/>
                </a:solidFill>
              </a:rPr>
              <a:t>حقيقية، من خلال تقسيم المهام والعمل الجماعي بين أعضاء الفريق.</a:t>
            </a:r>
          </a:p>
          <a:p>
            <a:pPr algn="r" rtl="1"/>
            <a:r>
              <a:rPr lang="ar-SA" sz="3100" b="1" dirty="0">
                <a:solidFill>
                  <a:schemeClr val="bg1"/>
                </a:solidFill>
              </a:rPr>
              <a:t>ويهدف كمان لتطبيق المفاهيم اللي اتعلمناها بشكل عملي، في تجربة شبيهة ببناء مشروع حقيقي من الصفر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BCD66083-06A1-4CD7-8C21-5ECD0A8FDF61}"/>
              </a:ext>
            </a:extLst>
          </p:cNvPr>
          <p:cNvSpPr txBox="1"/>
          <p:nvPr/>
        </p:nvSpPr>
        <p:spPr>
          <a:xfrm>
            <a:off x="5731049" y="652460"/>
            <a:ext cx="60940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u="sng" dirty="0">
                <a:solidFill>
                  <a:schemeClr val="bg1"/>
                </a:solidFill>
              </a:rPr>
              <a:t>مقدمة عن المشروع</a:t>
            </a:r>
            <a:endParaRPr lang="en-US" sz="3600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570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13FFFB7-A743-40F6-ABA3-51B1D1C0E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DBFAAF8D-C07F-4FB5-9B0C-98A2E67EC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346" y="1363024"/>
            <a:ext cx="11373261" cy="5186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صفحة رئيسية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Home Page):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بتعرض بانر ترحيبي وأقسام من المنتجات المميزة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صفحة المنتجات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Products Page):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شمل وظائف البحث والفلترة، مع عرض شامل </a:t>
            </a:r>
            <a:r>
              <a:rPr kumimoji="0" lang="ar-SA" altLang="en-US" sz="3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للمنتجات</a:t>
            </a: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بشكل منظم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السلة والمفضلة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يمكن للمستخدم بسهولة إضافة المنتجات إلى سلة الشراء أو المفضلة ومتابعتها في أي وقت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سجيل الدخول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Login):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نموذج بسيط لمحاكاة دخول المستخدم وإدارة حالته داخل الموقع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شريط التنقل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Navbar) </a:t>
            </a: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والفوتر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Footer):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صميم ثابت وسهل التنقل بين صفحات الموقع، وبيظهر بشكل مناسب على كل الأجهزة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457200" marR="0" lvl="0" indent="-45720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تصميم متجاوب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ar-SA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يعمل بسلاسة على شاشات الموبايل، التابلت، واللابتوب مع الحفاظ على تجربة مستخدم مريحة</a:t>
            </a:r>
            <a:r>
              <a:rPr kumimoji="0" lang="en-US" altLang="en-US" sz="3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B2332A-56AD-42CD-A28A-5E46733F0EF8}"/>
              </a:ext>
            </a:extLst>
          </p:cNvPr>
          <p:cNvSpPr txBox="1"/>
          <p:nvPr/>
        </p:nvSpPr>
        <p:spPr>
          <a:xfrm>
            <a:off x="5809537" y="193525"/>
            <a:ext cx="60940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u="sng" dirty="0">
                <a:solidFill>
                  <a:schemeClr val="bg1"/>
                </a:solidFill>
              </a:rPr>
              <a:t>المميزات الرئيسية للموقع</a:t>
            </a:r>
            <a:endParaRPr lang="en-US" sz="3600" b="1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9964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781897" y="1295880"/>
            <a:ext cx="10120619" cy="2363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Mahmou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F0F999E-4C11-147C-F908-3EB2918C7455}"/>
              </a:ext>
            </a:extLst>
          </p:cNvPr>
          <p:cNvGrpSpPr/>
          <p:nvPr/>
        </p:nvGrpSpPr>
        <p:grpSpPr>
          <a:xfrm>
            <a:off x="299484" y="7202586"/>
            <a:ext cx="11644423" cy="4513914"/>
            <a:chOff x="299484" y="369986"/>
            <a:chExt cx="11644423" cy="451391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D729241-D7D1-1D58-1A11-ED52B824CD5C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07586"/>
              <a:chOff x="299484" y="369986"/>
              <a:chExt cx="11644423" cy="507586"/>
            </a:xfrm>
          </p:grpSpPr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4320C07B-77FB-C610-D595-5D243C2E4C66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8" name="!!problem">
                <a:extLst>
                  <a:ext uri="{FF2B5EF4-FFF2-40B4-BE49-F238E27FC236}">
                    <a16:creationId xmlns:a16="http://schemas.microsoft.com/office/drawing/2014/main" id="{8DBF9CEF-6472-CB5D-E76C-791BCCCDE878}"/>
                  </a:ext>
                </a:extLst>
              </p:cNvPr>
              <p:cNvGrpSpPr/>
              <p:nvPr/>
            </p:nvGrpSpPr>
            <p:grpSpPr>
              <a:xfrm>
                <a:off x="5842207" y="369986"/>
                <a:ext cx="507586" cy="507586"/>
                <a:chOff x="2240169" y="4083721"/>
                <a:chExt cx="507586" cy="507586"/>
              </a:xfrm>
            </p:grpSpPr>
            <p:sp useBgFill="1"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3B69514D-9C1F-FD8E-8717-6D152462D787}"/>
                    </a:ext>
                  </a:extLst>
                </p:cNvPr>
                <p:cNvSpPr/>
                <p:nvPr/>
              </p:nvSpPr>
              <p:spPr>
                <a:xfrm>
                  <a:off x="2240169" y="4083721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572363" t="-883139" r="-1729595" b="-367962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0" name="Graphic 19">
                  <a:extLst>
                    <a:ext uri="{FF2B5EF4-FFF2-40B4-BE49-F238E27FC236}">
                      <a16:creationId xmlns:a16="http://schemas.microsoft.com/office/drawing/2014/main" id="{4BC5A95E-1C18-467E-551A-D8A8D45E03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67962" y="4211514"/>
                  <a:ext cx="252000" cy="2520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0F2029-373A-6BC7-D7D9-8E757F371CEC}"/>
                </a:ext>
              </a:extLst>
            </p:cNvPr>
            <p:cNvGrpSpPr/>
            <p:nvPr/>
          </p:nvGrpSpPr>
          <p:grpSpPr>
            <a:xfrm>
              <a:off x="1670150" y="1974099"/>
              <a:ext cx="8851700" cy="2909801"/>
              <a:chOff x="1670150" y="1637219"/>
              <a:chExt cx="8851700" cy="2909801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55C65CEB-CA03-3259-1F40-CF2C5688FD75}"/>
                  </a:ext>
                </a:extLst>
              </p:cNvPr>
              <p:cNvGrpSpPr/>
              <p:nvPr/>
            </p:nvGrpSpPr>
            <p:grpSpPr>
              <a:xfrm>
                <a:off x="2097076" y="2982796"/>
                <a:ext cx="7997848" cy="1564224"/>
                <a:chOff x="2149745" y="3545303"/>
                <a:chExt cx="7997848" cy="1564224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EF6E4A56-2819-9008-42AC-2111011D77E0}"/>
                    </a:ext>
                  </a:extLst>
                </p:cNvPr>
                <p:cNvSpPr txBox="1"/>
                <p:nvPr/>
              </p:nvSpPr>
              <p:spPr>
                <a:xfrm>
                  <a:off x="5085629" y="4524752"/>
                  <a:ext cx="2027155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looking for an alternative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A1446629-909E-6A85-4314-A12A06AD7D1E}"/>
                    </a:ext>
                  </a:extLst>
                </p:cNvPr>
                <p:cNvSpPr txBox="1"/>
                <p:nvPr/>
              </p:nvSpPr>
              <p:spPr>
                <a:xfrm>
                  <a:off x="7822845" y="4524752"/>
                  <a:ext cx="2324748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reports it as the biggest pain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297BD11E-F465-0D16-0717-C738A881C87E}"/>
                    </a:ext>
                  </a:extLst>
                </p:cNvPr>
                <p:cNvSpPr txBox="1"/>
                <p:nvPr/>
              </p:nvSpPr>
              <p:spPr>
                <a:xfrm>
                  <a:off x="2149745" y="4524752"/>
                  <a:ext cx="2120484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experiencing this problem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A7A23C80-F569-9FC4-0510-1E1D54988B15}"/>
                    </a:ext>
                  </a:extLst>
                </p:cNvPr>
                <p:cNvGrpSpPr/>
                <p:nvPr/>
              </p:nvGrpSpPr>
              <p:grpSpPr>
                <a:xfrm>
                  <a:off x="2464431" y="3545303"/>
                  <a:ext cx="7263139" cy="1494530"/>
                  <a:chOff x="2472444" y="3545303"/>
                  <a:chExt cx="7263139" cy="1494530"/>
                </a:xfrm>
              </p:grpSpPr>
              <p:cxnSp>
                <p:nvCxnSpPr>
                  <p:cNvPr id="12" name="Straight Connector 11">
                    <a:extLst>
                      <a:ext uri="{FF2B5EF4-FFF2-40B4-BE49-F238E27FC236}">
                        <a16:creationId xmlns:a16="http://schemas.microsoft.com/office/drawing/2014/main" id="{EB4E87A8-8471-E347-FCC2-2461350AA8D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9404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18DCE0B8-A996-6DBD-CA66-A570E6F788CE}"/>
                      </a:ext>
                    </a:extLst>
                  </p:cNvPr>
                  <p:cNvSpPr txBox="1"/>
                  <p:nvPr/>
                </p:nvSpPr>
                <p:spPr>
                  <a:xfrm>
                    <a:off x="5355251" y="3545303"/>
                    <a:ext cx="1503937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3%</a:t>
                    </a:r>
                    <a:endParaRPr lang="en-GB" sz="6600" dirty="0"/>
                  </a:p>
                </p:txBody>
              </p:sp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821C7476-8113-BD6F-6A5A-FAA5485BAD34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882" y="3545303"/>
                    <a:ext cx="1484701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7%</a:t>
                    </a:r>
                    <a:endParaRPr lang="en-GB" sz="6600" dirty="0"/>
                  </a:p>
                </p:txBody>
              </p:sp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BBD20F63-901F-5BCE-D53C-3B2012EE9938}"/>
                      </a:ext>
                    </a:extLst>
                  </p:cNvPr>
                  <p:cNvSpPr txBox="1"/>
                  <p:nvPr/>
                </p:nvSpPr>
                <p:spPr>
                  <a:xfrm>
                    <a:off x="2472444" y="3545303"/>
                    <a:ext cx="1491113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87%</a:t>
                    </a:r>
                    <a:endParaRPr lang="en-GB" sz="6600" dirty="0"/>
                  </a:p>
                </p:txBody>
              </p:sp>
              <p:cxnSp>
                <p:nvCxnSpPr>
                  <p:cNvPr id="16" name="Straight Connector 15">
                    <a:extLst>
                      <a:ext uri="{FF2B5EF4-FFF2-40B4-BE49-F238E27FC236}">
                        <a16:creationId xmlns:a16="http://schemas.microsoft.com/office/drawing/2014/main" id="{1DDF379F-BFF9-7DF0-55AB-A7B4757187A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555035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</p:grp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EBBDE1D-25C5-A400-C086-7AED91AB6641}"/>
                  </a:ext>
                </a:extLst>
              </p:cNvPr>
              <p:cNvSpPr txBox="1"/>
              <p:nvPr/>
            </p:nvSpPr>
            <p:spPr>
              <a:xfrm>
                <a:off x="1670150" y="1637219"/>
                <a:ext cx="8851700" cy="5859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ctr"/>
                <a:r>
                  <a:rPr lang="en-GB" sz="4800" dirty="0"/>
                  <a:t>Here are the problems that users have</a:t>
                </a: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935BD454-DD1B-4D2E-8FB9-6A78DA5BFEE4}"/>
              </a:ext>
            </a:extLst>
          </p:cNvPr>
          <p:cNvSpPr txBox="1"/>
          <p:nvPr/>
        </p:nvSpPr>
        <p:spPr>
          <a:xfrm>
            <a:off x="1468083" y="4162462"/>
            <a:ext cx="8206818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Ibrahim</a:t>
            </a:r>
          </a:p>
        </p:txBody>
      </p:sp>
    </p:spTree>
    <p:extLst>
      <p:ext uri="{BB962C8B-B14F-4D97-AF65-F5344CB8AC3E}">
        <p14:creationId xmlns:p14="http://schemas.microsoft.com/office/powerpoint/2010/main" val="236446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67E7352-B98C-2C21-BAFE-0E927185B1A7}"/>
              </a:ext>
            </a:extLst>
          </p:cNvPr>
          <p:cNvSpPr txBox="1"/>
          <p:nvPr/>
        </p:nvSpPr>
        <p:spPr>
          <a:xfrm>
            <a:off x="-2365246" y="207795"/>
            <a:ext cx="7851646" cy="353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lnSpc>
                <a:spcPct val="80000"/>
              </a:lnSpc>
              <a:defRPr/>
            </a:pPr>
            <a:r>
              <a:rPr lang="en-US" sz="2800" kern="0" dirty="0">
                <a:solidFill>
                  <a:prstClr val="white"/>
                </a:solidFill>
                <a:latin typeface="Darker Grotesque" pitchFamily="2" charset="0"/>
              </a:rPr>
              <a:t>Mahmoud Ibrahim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4FDCCCA9-9C04-4697-BB94-4617939B96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1601" y="1779687"/>
            <a:ext cx="10441020" cy="507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r" rtl="1"/>
            <a:r>
              <a:rPr lang="ar-SA" sz="3600" b="1" dirty="0">
                <a:solidFill>
                  <a:schemeClr val="bg1"/>
                </a:solidFill>
              </a:rPr>
              <a:t>دي الصفحة اللي المستخدم بيدخل فيها بياناته علشان يسجّل الدخول للموقع.</a:t>
            </a:r>
          </a:p>
          <a:p>
            <a:pPr algn="r" rtl="1"/>
            <a:r>
              <a:rPr lang="ar-SA" sz="3600" b="1" dirty="0">
                <a:solidFill>
                  <a:schemeClr val="bg1"/>
                </a:solidFill>
              </a:rPr>
              <a:t>ركزنا فيها على البساطة وسهولة الاستخدام، فالمستخدم بيكتب البريد الإلكتروني وكلمة السر، ويضغط على "تسجيل الدخول".</a:t>
            </a:r>
          </a:p>
          <a:p>
            <a:pPr algn="r" rtl="1"/>
            <a:r>
              <a:rPr lang="ar-SA" sz="3600" b="1" dirty="0">
                <a:solidFill>
                  <a:schemeClr val="bg1"/>
                </a:solidFill>
              </a:rPr>
              <a:t>الهدف من الصفحة دي هو نسمح للمستخدم إنه يتابع مشترياته أو يشوف العربة بتاعته أو يدخل على مفضّلته لو كان عامل حساب.</a:t>
            </a:r>
          </a:p>
          <a:p>
            <a:pPr algn="r" rtl="1"/>
            <a:r>
              <a:rPr lang="ar-SA" sz="3600" b="1" dirty="0">
                <a:solidFill>
                  <a:schemeClr val="bg1"/>
                </a:solidFill>
              </a:rPr>
              <a:t>كمان أضفنا شوية أنيميشن خفيفة، زي حركة بسيطة للزر أو ظهور الرسائل، علشان نخلي تجربة الاستخدام سلسة ومريحة.</a:t>
            </a:r>
          </a:p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36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B780A4B-492E-47E1-9AFC-E4BBD1C12160}"/>
              </a:ext>
            </a:extLst>
          </p:cNvPr>
          <p:cNvSpPr txBox="1"/>
          <p:nvPr/>
        </p:nvSpPr>
        <p:spPr>
          <a:xfrm>
            <a:off x="2848961" y="524060"/>
            <a:ext cx="89636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200" b="1" u="sng" dirty="0">
                <a:solidFill>
                  <a:schemeClr val="bg1"/>
                </a:solidFill>
              </a:rPr>
              <a:t>1-صفحة تسجيل </a:t>
            </a:r>
            <a:r>
              <a:rPr lang="ar-SA" sz="3600" b="1" u="sng" dirty="0">
                <a:solidFill>
                  <a:schemeClr val="bg1"/>
                </a:solidFill>
              </a:rPr>
              <a:t>الدخول</a:t>
            </a:r>
            <a:r>
              <a:rPr lang="ar-SA" sz="3200" b="1" u="sng" dirty="0">
                <a:solidFill>
                  <a:schemeClr val="bg1"/>
                </a:solidFill>
              </a:rPr>
              <a:t> (</a:t>
            </a:r>
            <a:r>
              <a:rPr lang="en-US" sz="3200" b="1" u="sng" dirty="0">
                <a:solidFill>
                  <a:schemeClr val="bg1"/>
                </a:solidFill>
              </a:rPr>
              <a:t>Login Page</a:t>
            </a:r>
            <a:r>
              <a:rPr lang="ar-SA" sz="3200" b="1" u="sng" dirty="0">
                <a:solidFill>
                  <a:schemeClr val="bg1"/>
                </a:solidFill>
              </a:rPr>
              <a:t>)</a:t>
            </a:r>
            <a:endParaRPr lang="en-US" sz="3200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035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FFB808B-46DD-4365-9D99-DB6419785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5DF180-BD40-46F8-BDB6-8EA3F134FD83}"/>
              </a:ext>
            </a:extLst>
          </p:cNvPr>
          <p:cNvSpPr txBox="1"/>
          <p:nvPr/>
        </p:nvSpPr>
        <p:spPr>
          <a:xfrm>
            <a:off x="4038600" y="334645"/>
            <a:ext cx="78638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4000" b="1" u="sng" dirty="0">
                <a:solidFill>
                  <a:schemeClr val="bg1"/>
                </a:solidFill>
              </a:rPr>
              <a:t>2-صفحة إنشاء حساب (</a:t>
            </a:r>
            <a:r>
              <a:rPr lang="en-US" sz="4000" b="1" u="sng" dirty="0">
                <a:solidFill>
                  <a:schemeClr val="bg1"/>
                </a:solidFill>
              </a:rPr>
              <a:t>Register Page</a:t>
            </a:r>
            <a:r>
              <a:rPr lang="ar-SA" sz="4000" b="1" u="sng" dirty="0">
                <a:solidFill>
                  <a:schemeClr val="bg1"/>
                </a:solidFill>
              </a:rPr>
              <a:t>)</a:t>
            </a:r>
            <a:endParaRPr lang="en-US" sz="4000" b="1" u="sng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13430E-2AEC-4DDA-BF1C-03313273F3B0}"/>
              </a:ext>
            </a:extLst>
          </p:cNvPr>
          <p:cNvSpPr txBox="1"/>
          <p:nvPr/>
        </p:nvSpPr>
        <p:spPr>
          <a:xfrm>
            <a:off x="518160" y="1443840"/>
            <a:ext cx="11277600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2600" b="1" dirty="0">
                <a:solidFill>
                  <a:schemeClr val="bg1"/>
                </a:solidFill>
              </a:rPr>
              <a:t>دي الصفحة اللي المستخدم بيقدر من خلالها يسجّل حساب جديد على الموقع.</a:t>
            </a:r>
            <a:br>
              <a:rPr lang="ar-SA" sz="2600" b="1" dirty="0">
                <a:solidFill>
                  <a:schemeClr val="bg1"/>
                </a:solidFill>
              </a:rPr>
            </a:br>
            <a:r>
              <a:rPr lang="ar-SA" sz="2600" b="1" dirty="0">
                <a:solidFill>
                  <a:schemeClr val="bg1"/>
                </a:solidFill>
              </a:rPr>
              <a:t>بيكتب بيانات بسيطة زي الاسم، البريد الإلكتروني، وكلمة السر.</a:t>
            </a:r>
          </a:p>
          <a:p>
            <a:pPr algn="r" rtl="1"/>
            <a:r>
              <a:rPr lang="ar-SA" sz="2600" b="1" dirty="0">
                <a:solidFill>
                  <a:schemeClr val="bg1"/>
                </a:solidFill>
              </a:rPr>
              <a:t>اهتمينا إن التصميم يكون بسيط وسهل، علشان المستخدم يخلص التسجيل بسرعة من غير تعقيد.</a:t>
            </a:r>
          </a:p>
          <a:p>
            <a:pPr algn="r" rtl="1"/>
            <a:r>
              <a:rPr lang="ar-SA" sz="2600" b="1" dirty="0">
                <a:solidFill>
                  <a:schemeClr val="bg1"/>
                </a:solidFill>
              </a:rPr>
              <a:t>استخدمنا </a:t>
            </a:r>
            <a:r>
              <a:rPr lang="en-US" sz="2600" b="1" dirty="0">
                <a:solidFill>
                  <a:schemeClr val="bg1"/>
                </a:solidFill>
              </a:rPr>
              <a:t>React components </a:t>
            </a:r>
            <a:r>
              <a:rPr lang="ar-SA" sz="2600" b="1" dirty="0">
                <a:solidFill>
                  <a:schemeClr val="bg1"/>
                </a:solidFill>
              </a:rPr>
              <a:t>علشان نخلي الكود منظم، و</a:t>
            </a:r>
            <a:r>
              <a:rPr lang="en-US" sz="2600" b="1" dirty="0">
                <a:solidFill>
                  <a:schemeClr val="bg1"/>
                </a:solidFill>
              </a:rPr>
              <a:t>Tailwind CSS </a:t>
            </a:r>
            <a:r>
              <a:rPr lang="ar-SA" sz="2600" b="1" dirty="0">
                <a:solidFill>
                  <a:schemeClr val="bg1"/>
                </a:solidFill>
              </a:rPr>
              <a:t>للتصميم المتجاوب.</a:t>
            </a:r>
          </a:p>
          <a:p>
            <a:pPr algn="r" rtl="1"/>
            <a:r>
              <a:rPr lang="ar-SA" sz="2600" b="1" dirty="0">
                <a:solidFill>
                  <a:schemeClr val="bg1"/>
                </a:solidFill>
              </a:rPr>
              <a:t>كمان أضفنا أنيميشن خفيفة في ظهور العناصر وتفاعل الزر، علشان نخلي تجربة الاستخدام مريحة وسلسة.</a:t>
            </a:r>
          </a:p>
          <a:p>
            <a:pPr algn="r" rtl="1"/>
            <a:r>
              <a:rPr lang="ar-SA" sz="2600" b="1" dirty="0">
                <a:solidFill>
                  <a:schemeClr val="bg1"/>
                </a:solidFill>
              </a:rPr>
              <a:t>الصفحة دي بداية العلاقة بين المستخدم والموقع، فكان مهم تكون تجربة التسجيل سريعة، واضحة، وتدي إحساس بالثقة.</a:t>
            </a:r>
          </a:p>
          <a:p>
            <a:pPr algn="r" rtl="1"/>
            <a:r>
              <a:rPr lang="ar-SA" sz="2600" b="1" dirty="0">
                <a:solidFill>
                  <a:schemeClr val="bg1"/>
                </a:solidFill>
              </a:rPr>
              <a:t>كمان حاولنا نخلي شكل الفورم نظيف وواضح، ونضفنا تنبيهات بسيطة لو فيه خطأ في الإدخال علشان نساعد المستخدم يصحح بسهولة.</a:t>
            </a:r>
          </a:p>
          <a:p>
            <a:pPr algn="r" rtl="1"/>
            <a:r>
              <a:rPr lang="ar-SA" sz="2600" b="1" dirty="0">
                <a:solidFill>
                  <a:schemeClr val="bg1"/>
                </a:solidFill>
              </a:rPr>
              <a:t>وخططنا نربط الصفحة دي لاحقًا بتسجيل دخول فعلي أو نظام تخزين بيانات، لو المشروع تم تطويره أكتر في المستقب</a:t>
            </a:r>
          </a:p>
        </p:txBody>
      </p:sp>
    </p:spTree>
    <p:extLst>
      <p:ext uri="{BB962C8B-B14F-4D97-AF65-F5344CB8AC3E}">
        <p14:creationId xmlns:p14="http://schemas.microsoft.com/office/powerpoint/2010/main" val="1015831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43E6001-7B08-4A7E-B4BB-126D81DEA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esigned by One Ski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748212-1B19-4B21-9F43-28E5F5B7B724}"/>
              </a:ext>
            </a:extLst>
          </p:cNvPr>
          <p:cNvSpPr txBox="1"/>
          <p:nvPr/>
        </p:nvSpPr>
        <p:spPr>
          <a:xfrm>
            <a:off x="5806440" y="13652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3600" b="1" u="sng" dirty="0">
                <a:solidFill>
                  <a:schemeClr val="bg1"/>
                </a:solidFill>
              </a:rPr>
              <a:t>3-تنفيذ البرزنتيشن والتجربة الشخصية</a:t>
            </a:r>
            <a:endParaRPr lang="en-US" sz="3600" b="1" u="sng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602270-9F54-4E30-B25D-3CBE17058708}"/>
              </a:ext>
            </a:extLst>
          </p:cNvPr>
          <p:cNvSpPr txBox="1"/>
          <p:nvPr/>
        </p:nvSpPr>
        <p:spPr>
          <a:xfrm>
            <a:off x="213360" y="1112520"/>
            <a:ext cx="11506200" cy="54306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/>
            <a:r>
              <a:rPr lang="ar-SA" sz="2800" b="1" dirty="0">
                <a:solidFill>
                  <a:schemeClr val="bg1"/>
                </a:solidFill>
              </a:rPr>
              <a:t>أنا اللي قمت بتجهيز البرزنتيشن بشكل كامل، من تنظيم المحتوى إلى تنسيق الشرائح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حرصت إن كل صفحة يتم شرحها بأسلوب مبسط وواضح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استخدمت لغة سهلة وأمثلة حقيقية علشان كل جزء يوصل بسرعة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اعتمدت في العرض على التسلسل المنطقي بين الصفحات، بحيث تكون التجربة مرتبة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استخدمت تأثيرات حركة (</a:t>
            </a:r>
            <a:r>
              <a:rPr lang="en-US" sz="2800" b="1" dirty="0">
                <a:solidFill>
                  <a:schemeClr val="bg1"/>
                </a:solidFill>
              </a:rPr>
              <a:t>Animations) </a:t>
            </a:r>
            <a:r>
              <a:rPr lang="ar-SA" sz="2800" b="1" dirty="0">
                <a:solidFill>
                  <a:schemeClr val="bg1"/>
                </a:solidFill>
              </a:rPr>
              <a:t>خفيفة عشان تخلي العرض أكثر تفاعل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اخترت ألوان وخطوط مريحة للعين علشان يكون العرض جذاب واحترافي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تأكدت إن كل نقطة مطلوبة في التعليمات موجودة ومتغطية بالكامل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حاولت أوازن بين الاختصار والتوضيح في كل فقرة علشان ما يكونش في ملل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اتعلمت من التجربة دي إزاي أقدم محتوى تقني بشكل بسيط ومنظم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والأهم، إن العرض كان فرصة إني أراجع شغلي وفهمي لكل جزء في المشروع.</a:t>
            </a:r>
            <a:br>
              <a:rPr lang="ar-SA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اتدرّبت أكتر على مهارات العرض والتحدث، وده هيكون مفيد ليا في أي </a:t>
            </a:r>
            <a:r>
              <a:rPr lang="en-US" sz="2800" b="1" dirty="0">
                <a:solidFill>
                  <a:schemeClr val="bg1"/>
                </a:solidFill>
              </a:rPr>
              <a:t>Interview.</a:t>
            </a:r>
            <a:br>
              <a:rPr lang="en-US" sz="2800" b="1" dirty="0">
                <a:solidFill>
                  <a:schemeClr val="bg1"/>
                </a:solidFill>
              </a:rPr>
            </a:br>
            <a:r>
              <a:rPr lang="ar-SA" sz="2800" b="1" dirty="0">
                <a:solidFill>
                  <a:schemeClr val="bg1"/>
                </a:solidFill>
              </a:rPr>
              <a:t>وإن شاء الله أقدر أقدّم دايمًا حاجة منظمة ومحترفة تعبر عن شغل التيم كله.</a:t>
            </a:r>
            <a:endParaRPr lang="en-US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076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Thesis PPT">
      <a:dk1>
        <a:sysClr val="windowText" lastClr="000000"/>
      </a:dk1>
      <a:lt1>
        <a:sysClr val="window" lastClr="FFFFFF"/>
      </a:lt1>
      <a:dk2>
        <a:srgbClr val="140812"/>
      </a:dk2>
      <a:lt2>
        <a:srgbClr val="D8D9DC"/>
      </a:lt2>
      <a:accent1>
        <a:srgbClr val="00FFB3"/>
      </a:accent1>
      <a:accent2>
        <a:srgbClr val="00F1FF"/>
      </a:accent2>
      <a:accent3>
        <a:srgbClr val="4775E7"/>
      </a:accent3>
      <a:accent4>
        <a:srgbClr val="8730EA"/>
      </a:accent4>
      <a:accent5>
        <a:srgbClr val="FD6364"/>
      </a:accent5>
      <a:accent6>
        <a:srgbClr val="D54773"/>
      </a:accent6>
      <a:hlink>
        <a:srgbClr val="4775E7"/>
      </a:hlink>
      <a:folHlink>
        <a:srgbClr val="8C8C8C"/>
      </a:folHlink>
    </a:clrScheme>
    <a:fontScheme name="Darker Grotesque">
      <a:majorFont>
        <a:latin typeface="Darker Grotesque SemiBold"/>
        <a:ea typeface=""/>
        <a:cs typeface=""/>
      </a:majorFont>
      <a:minorFont>
        <a:latin typeface="Darker Grotesque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1</TotalTime>
  <Words>2401</Words>
  <Application>Microsoft Office PowerPoint</Application>
  <PresentationFormat>Widescreen</PresentationFormat>
  <Paragraphs>214</Paragraphs>
  <Slides>2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42" baseType="lpstr">
      <vt:lpstr>Arial Unicode MS</vt:lpstr>
      <vt:lpstr>Aptos</vt:lpstr>
      <vt:lpstr>Aptos Display</vt:lpstr>
      <vt:lpstr>Arial</vt:lpstr>
      <vt:lpstr>Darker Grotesque</vt:lpstr>
      <vt:lpstr>Darker Grotesque Medium</vt:lpstr>
      <vt:lpstr>Darker Grotesque SemiBold</vt:lpstr>
      <vt:lpstr>Orbitron Black</vt:lpstr>
      <vt:lpstr>Playfair Display</vt:lpstr>
      <vt:lpstr>Poppins Light</vt:lpstr>
      <vt:lpstr>Wingdings</vt:lpstr>
      <vt:lpstr>Office Theme</vt:lpstr>
      <vt:lpstr>1_Office Theme</vt:lpstr>
      <vt:lpstr>PowerPoint Presentation</vt:lpstr>
      <vt:lpstr>Mohamed  Osama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ne Skill</dc:creator>
  <cp:lastModifiedBy>mahmoud ibrahim</cp:lastModifiedBy>
  <cp:revision>106</cp:revision>
  <dcterms:created xsi:type="dcterms:W3CDTF">2024-07-26T12:33:19Z</dcterms:created>
  <dcterms:modified xsi:type="dcterms:W3CDTF">2025-07-29T17:58:58Z</dcterms:modified>
</cp:coreProperties>
</file>